
<file path=[Content_Types].xml><?xml version="1.0" encoding="utf-8"?>
<Types xmlns="http://schemas.openxmlformats.org/package/2006/content-types">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theme/theme4.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78" r:id="rId4"/>
    <p:sldMasterId id="2147483680" r:id="rId5"/>
    <p:sldMasterId id="2147483682" r:id="rId6"/>
    <p:sldMasterId id="2147483684" r:id="rId7"/>
    <p:sldMasterId id="2147483777" r:id="rId8"/>
    <p:sldMasterId id="2147483856" r:id="rId9"/>
  </p:sldMasterIdLst>
  <p:notesMasterIdLst>
    <p:notesMasterId r:id="rId30"/>
  </p:notesMasterIdLst>
  <p:sldIdLst>
    <p:sldId id="256" r:id="rId10"/>
    <p:sldId id="258" r:id="rId11"/>
    <p:sldId id="2147483418" r:id="rId12"/>
    <p:sldId id="2147483420" r:id="rId13"/>
    <p:sldId id="2147483421" r:id="rId14"/>
    <p:sldId id="353" r:id="rId15"/>
    <p:sldId id="354" r:id="rId16"/>
    <p:sldId id="2147483419" r:id="rId17"/>
    <p:sldId id="2147483414" r:id="rId18"/>
    <p:sldId id="2147472891" r:id="rId19"/>
    <p:sldId id="2147483416" r:id="rId20"/>
    <p:sldId id="2147483415" r:id="rId21"/>
    <p:sldId id="2147483417" r:id="rId22"/>
    <p:sldId id="2147483422" r:id="rId23"/>
    <p:sldId id="279" r:id="rId24"/>
    <p:sldId id="283" r:id="rId25"/>
    <p:sldId id="2147471109" r:id="rId26"/>
    <p:sldId id="272" r:id="rId27"/>
    <p:sldId id="2147483423" r:id="rId28"/>
    <p:sldId id="2147483424" r:id="rId29"/>
  </p:sldIdLst>
  <p:sldSz cx="12192000" cy="6858000"/>
  <p:notesSz cx="6858000" cy="9144000"/>
  <p:embeddedFontLst>
    <p:embeddedFont>
      <p:font typeface="Consolas" panose="020B0609020204030204" pitchFamily="49" charset="0"/>
      <p:regular r:id="rId31"/>
      <p:bold r:id="rId32"/>
      <p:italic r:id="rId33"/>
      <p:boldItalic r:id="rId34"/>
    </p:embeddedFont>
    <p:embeddedFont>
      <p:font typeface="Montserrat" panose="00000500000000000000" pitchFamily="2" charset="0"/>
      <p:regular r:id="rId35"/>
      <p:bold r:id="rId36"/>
      <p:italic r:id="rId37"/>
      <p:boldItalic r:id="rId38"/>
    </p:embeddedFont>
    <p:embeddedFont>
      <p:font typeface="Montserrat SemiBold" panose="00000700000000000000" pitchFamily="2" charset="0"/>
      <p:bold r:id="rId39"/>
      <p:boldItalic r:id="rId40"/>
    </p:embeddedFont>
    <p:embeddedFont>
      <p:font typeface="Playfair Display" panose="00000500000000000000" pitchFamily="2" charset="0"/>
      <p:regular r:id="rId41"/>
      <p:bold r:id="rId42"/>
      <p:italic r:id="rId43"/>
      <p:boldItalic r:id="rId44"/>
    </p:embeddedFont>
    <p:embeddedFont>
      <p:font typeface="Poppins SemiBold" panose="00000700000000000000" pitchFamily="2" charset="0"/>
      <p:bold r:id="rId45"/>
      <p:boldItalic r:id="rId46"/>
    </p:embeddedFont>
    <p:embeddedFont>
      <p:font typeface="Posterama" panose="020B0504020200020000" pitchFamily="34" charset="0"/>
      <p:regular r:id="rId47"/>
      <p:bold r:id="rId48"/>
      <p:italic r:id="rId49"/>
      <p:boldItalic r:id="rId50"/>
    </p:embeddedFont>
    <p:embeddedFont>
      <p:font typeface="Segoe UI" panose="020B0502040204020203" pitchFamily="34" charset="0"/>
      <p:regular r:id="rId51"/>
      <p:bold r:id="rId52"/>
      <p:italic r:id="rId53"/>
      <p:boldItalic r:id="rId54"/>
    </p:embeddedFont>
    <p:embeddedFont>
      <p:font typeface="Segoe UI Light" panose="020B0502040204020203" pitchFamily="34" charset="0"/>
      <p:regular r:id="rId55"/>
      <p:italic r:id="rId56"/>
    </p:embeddedFont>
    <p:embeddedFont>
      <p:font typeface="Segoe UI Semibold" panose="020B0702040204020203" pitchFamily="34" charset="0"/>
      <p:bold r:id="rId57"/>
      <p:boldItalic r:id="rId5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y Glasheen" initials="RG" lastIdx="1" clrIdx="0">
    <p:extLst>
      <p:ext uri="{19B8F6BF-5375-455C-9EA6-DF929625EA0E}">
        <p15:presenceInfo xmlns:p15="http://schemas.microsoft.com/office/powerpoint/2012/main" userId="S::rglasheen@brightwork.com::785f7a1a-8d11-4bab-9525-84d3cd0677d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679FC"/>
    <a:srgbClr val="FF4D00"/>
    <a:srgbClr val="76BC21"/>
    <a:srgbClr val="FFCD00"/>
    <a:srgbClr val="00E2FF"/>
    <a:srgbClr val="00F69B"/>
    <a:srgbClr val="8533A1"/>
    <a:srgbClr val="B2AFC4"/>
    <a:srgbClr val="1ECAD3"/>
    <a:srgbClr val="2B65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2C8E03-CE66-4182-ABF4-23D83BA3F0E1}" v="52" dt="2025-06-15T08:40:28.983"/>
    <p1510:client id="{AA2D46BA-CB26-4EA5-9AC8-46E2340DA825}" v="64" dt="2025-06-15T12:15:19.83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70" autoAdjust="0"/>
    <p:restoredTop sz="96327" autoAdjust="0"/>
  </p:normalViewPr>
  <p:slideViewPr>
    <p:cSldViewPr snapToGrid="0">
      <p:cViewPr varScale="1">
        <p:scale>
          <a:sx n="91" d="100"/>
          <a:sy n="91" d="100"/>
        </p:scale>
        <p:origin x="350" y="7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97" d="100"/>
          <a:sy n="97" d="100"/>
        </p:scale>
        <p:origin x="4328" y="20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font" Target="fonts/font4.fntdata"/><Relationship Id="rId42" Type="http://schemas.openxmlformats.org/officeDocument/2006/relationships/font" Target="fonts/font12.fntdata"/><Relationship Id="rId47" Type="http://schemas.openxmlformats.org/officeDocument/2006/relationships/font" Target="fonts/font17.fntdata"/><Relationship Id="rId50" Type="http://schemas.openxmlformats.org/officeDocument/2006/relationships/font" Target="fonts/font20.fntdata"/><Relationship Id="rId55" Type="http://schemas.openxmlformats.org/officeDocument/2006/relationships/font" Target="fonts/font25.fntdata"/><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font" Target="fonts/font10.fntdata"/><Relationship Id="rId45" Type="http://schemas.openxmlformats.org/officeDocument/2006/relationships/font" Target="fonts/font15.fntdata"/><Relationship Id="rId53" Type="http://schemas.openxmlformats.org/officeDocument/2006/relationships/font" Target="fonts/font23.fntdata"/><Relationship Id="rId58" Type="http://schemas.openxmlformats.org/officeDocument/2006/relationships/font" Target="fonts/font28.fntdata"/><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notesMaster" Target="notesMasters/notesMaster1.xml"/><Relationship Id="rId35" Type="http://schemas.openxmlformats.org/officeDocument/2006/relationships/font" Target="fonts/font5.fntdata"/><Relationship Id="rId43" Type="http://schemas.openxmlformats.org/officeDocument/2006/relationships/font" Target="fonts/font13.fntdata"/><Relationship Id="rId48" Type="http://schemas.openxmlformats.org/officeDocument/2006/relationships/font" Target="fonts/font18.fntdata"/><Relationship Id="rId56" Type="http://schemas.openxmlformats.org/officeDocument/2006/relationships/font" Target="fonts/font26.fntdata"/><Relationship Id="rId64"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font" Target="fonts/font21.fntdata"/><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font" Target="fonts/font3.fntdata"/><Relationship Id="rId38" Type="http://schemas.openxmlformats.org/officeDocument/2006/relationships/font" Target="fonts/font8.fntdata"/><Relationship Id="rId46" Type="http://schemas.openxmlformats.org/officeDocument/2006/relationships/font" Target="fonts/font16.fntdata"/><Relationship Id="rId59" Type="http://schemas.openxmlformats.org/officeDocument/2006/relationships/commentAuthors" Target="commentAuthors.xml"/><Relationship Id="rId20" Type="http://schemas.openxmlformats.org/officeDocument/2006/relationships/slide" Target="slides/slide11.xml"/><Relationship Id="rId41" Type="http://schemas.openxmlformats.org/officeDocument/2006/relationships/font" Target="fonts/font11.fntdata"/><Relationship Id="rId54" Type="http://schemas.openxmlformats.org/officeDocument/2006/relationships/font" Target="fonts/font24.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font" Target="fonts/font6.fntdata"/><Relationship Id="rId49" Type="http://schemas.openxmlformats.org/officeDocument/2006/relationships/font" Target="fonts/font19.fntdata"/><Relationship Id="rId57" Type="http://schemas.openxmlformats.org/officeDocument/2006/relationships/font" Target="fonts/font27.fntdata"/><Relationship Id="rId10" Type="http://schemas.openxmlformats.org/officeDocument/2006/relationships/slide" Target="slides/slide1.xml"/><Relationship Id="rId31" Type="http://schemas.openxmlformats.org/officeDocument/2006/relationships/font" Target="fonts/font1.fntdata"/><Relationship Id="rId44" Type="http://schemas.openxmlformats.org/officeDocument/2006/relationships/font" Target="fonts/font14.fntdata"/><Relationship Id="rId52" Type="http://schemas.openxmlformats.org/officeDocument/2006/relationships/font" Target="fonts/font22.fntdata"/><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font" Target="fonts/font9.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y Glasheen" userId="785f7a1a-8d11-4bab-9525-84d3cd0677d5" providerId="ADAL" clId="{1A537B5E-1360-FD42-BC64-B04AB19EB895}"/>
    <pc:docChg chg="modSld">
      <pc:chgData name="Ray Glasheen" userId="785f7a1a-8d11-4bab-9525-84d3cd0677d5" providerId="ADAL" clId="{1A537B5E-1360-FD42-BC64-B04AB19EB895}" dt="2019-08-22T09:45:45.250" v="3"/>
      <pc:docMkLst>
        <pc:docMk/>
      </pc:docMkLst>
      <pc:sldChg chg="setBg">
        <pc:chgData name="Ray Glasheen" userId="785f7a1a-8d11-4bab-9525-84d3cd0677d5" providerId="ADAL" clId="{1A537B5E-1360-FD42-BC64-B04AB19EB895}" dt="2019-08-22T09:45:40.019" v="1"/>
        <pc:sldMkLst>
          <pc:docMk/>
          <pc:sldMk cId="3080557386" sldId="256"/>
        </pc:sldMkLst>
      </pc:sldChg>
    </pc:docChg>
  </pc:docChgLst>
  <pc:docChgLst>
    <pc:chgData name="Ray Glasheen" userId="785f7a1a-8d11-4bab-9525-84d3cd0677d5" providerId="ADAL" clId="{7DA55DAB-EE22-2645-A658-6D55D09FC165}"/>
    <pc:docChg chg="custSel addSld delSld modSld sldOrd modMainMaster">
      <pc:chgData name="Ray Glasheen" userId="785f7a1a-8d11-4bab-9525-84d3cd0677d5" providerId="ADAL" clId="{7DA55DAB-EE22-2645-A658-6D55D09FC165}" dt="2022-05-06T16:59:04.576" v="460" actId="20577"/>
      <pc:docMkLst>
        <pc:docMk/>
      </pc:docMkLst>
      <pc:sldChg chg="mod setBg chgLayout modNotesTx">
        <pc:chgData name="Ray Glasheen" userId="785f7a1a-8d11-4bab-9525-84d3cd0677d5" providerId="ADAL" clId="{7DA55DAB-EE22-2645-A658-6D55D09FC165}" dt="2022-05-06T16:56:57.305" v="200" actId="20577"/>
        <pc:sldMkLst>
          <pc:docMk/>
          <pc:sldMk cId="3080557386" sldId="256"/>
        </pc:sldMkLst>
      </pc:sldChg>
      <pc:sldChg chg="addSp ord setBg modNotesTx">
        <pc:chgData name="Ray Glasheen" userId="785f7a1a-8d11-4bab-9525-84d3cd0677d5" providerId="ADAL" clId="{7DA55DAB-EE22-2645-A658-6D55D09FC165}" dt="2022-05-06T16:57:59.803" v="348" actId="20577"/>
        <pc:sldMkLst>
          <pc:docMk/>
          <pc:sldMk cId="350046711" sldId="258"/>
        </pc:sldMkLst>
      </pc:sldChg>
      <pc:sldChg chg="addSp delSp modSp setBg modNotesTx">
        <pc:chgData name="Ray Glasheen" userId="785f7a1a-8d11-4bab-9525-84d3cd0677d5" providerId="ADAL" clId="{7DA55DAB-EE22-2645-A658-6D55D09FC165}" dt="2022-05-06T16:58:54.028" v="442" actId="20577"/>
        <pc:sldMkLst>
          <pc:docMk/>
          <pc:sldMk cId="1732964153" sldId="259"/>
        </pc:sldMkLst>
      </pc:sldChg>
      <pc:sldChg chg="add del">
        <pc:chgData name="Ray Glasheen" userId="785f7a1a-8d11-4bab-9525-84d3cd0677d5" providerId="ADAL" clId="{7DA55DAB-EE22-2645-A658-6D55D09FC165}" dt="2022-05-06T16:39:40.138" v="15"/>
        <pc:sldMkLst>
          <pc:docMk/>
          <pc:sldMk cId="63805200" sldId="260"/>
        </pc:sldMkLst>
      </pc:sldChg>
      <pc:sldChg chg="add del">
        <pc:chgData name="Ray Glasheen" userId="785f7a1a-8d11-4bab-9525-84d3cd0677d5" providerId="ADAL" clId="{7DA55DAB-EE22-2645-A658-6D55D09FC165}" dt="2022-05-06T16:51:56.335" v="77" actId="2696"/>
        <pc:sldMkLst>
          <pc:docMk/>
          <pc:sldMk cId="252992477" sldId="260"/>
        </pc:sldMkLst>
      </pc:sldChg>
      <pc:sldChg chg="addSp delSp modSp add del">
        <pc:chgData name="Ray Glasheen" userId="785f7a1a-8d11-4bab-9525-84d3cd0677d5" providerId="ADAL" clId="{7DA55DAB-EE22-2645-A658-6D55D09FC165}" dt="2022-05-06T16:55:43.966" v="103" actId="2696"/>
        <pc:sldMkLst>
          <pc:docMk/>
          <pc:sldMk cId="1640077037" sldId="260"/>
        </pc:sldMkLst>
      </pc:sldChg>
      <pc:sldChg chg="add del">
        <pc:chgData name="Ray Glasheen" userId="785f7a1a-8d11-4bab-9525-84d3cd0677d5" providerId="ADAL" clId="{7DA55DAB-EE22-2645-A658-6D55D09FC165}" dt="2022-05-06T16:51:08.205" v="67"/>
        <pc:sldMkLst>
          <pc:docMk/>
          <pc:sldMk cId="3339877687" sldId="260"/>
        </pc:sldMkLst>
      </pc:sldChg>
      <pc:sldChg chg="add modNotesTx">
        <pc:chgData name="Ray Glasheen" userId="785f7a1a-8d11-4bab-9525-84d3cd0677d5" providerId="ADAL" clId="{7DA55DAB-EE22-2645-A658-6D55D09FC165}" dt="2022-05-06T16:59:04.576" v="460" actId="20577"/>
        <pc:sldMkLst>
          <pc:docMk/>
          <pc:sldMk cId="3754779477" sldId="260"/>
        </pc:sldMkLst>
      </pc:sldChg>
      <pc:sldChg chg="del">
        <pc:chgData name="Ray Glasheen" userId="785f7a1a-8d11-4bab-9525-84d3cd0677d5" providerId="ADAL" clId="{7DA55DAB-EE22-2645-A658-6D55D09FC165}" dt="2022-05-06T16:36:43.105" v="9" actId="2696"/>
        <pc:sldMkLst>
          <pc:docMk/>
          <pc:sldMk cId="4139045586" sldId="260"/>
        </pc:sldMkLst>
      </pc:sldChg>
      <pc:sldChg chg="add del">
        <pc:chgData name="Ray Glasheen" userId="785f7a1a-8d11-4bab-9525-84d3cd0677d5" providerId="ADAL" clId="{7DA55DAB-EE22-2645-A658-6D55D09FC165}" dt="2022-05-06T16:39:37.203" v="14"/>
        <pc:sldMkLst>
          <pc:docMk/>
          <pc:sldMk cId="2172850292" sldId="261"/>
        </pc:sldMkLst>
      </pc:sldChg>
      <pc:sldMasterChg chg="mod setBg">
        <pc:chgData name="Ray Glasheen" userId="785f7a1a-8d11-4bab-9525-84d3cd0677d5" providerId="ADAL" clId="{7DA55DAB-EE22-2645-A658-6D55D09FC165}" dt="2022-05-06T16:43:31.464" v="24" actId="6014"/>
        <pc:sldMasterMkLst>
          <pc:docMk/>
          <pc:sldMasterMk cId="2281765972" sldId="2147483678"/>
        </pc:sldMasterMkLst>
      </pc:sldMasterChg>
      <pc:sldMasterChg chg="addSp delSp mod setBg modSldLayout">
        <pc:chgData name="Ray Glasheen" userId="785f7a1a-8d11-4bab-9525-84d3cd0677d5" providerId="ADAL" clId="{7DA55DAB-EE22-2645-A658-6D55D09FC165}" dt="2022-05-06T16:53:09.792" v="78"/>
        <pc:sldMasterMkLst>
          <pc:docMk/>
          <pc:sldMasterMk cId="4189170703" sldId="2147483680"/>
        </pc:sldMasterMkLst>
        <pc:sldLayoutChg chg="addSp delSp modSp">
          <pc:chgData name="Ray Glasheen" userId="785f7a1a-8d11-4bab-9525-84d3cd0677d5" providerId="ADAL" clId="{7DA55DAB-EE22-2645-A658-6D55D09FC165}" dt="2022-05-06T16:51:37.310" v="70"/>
          <pc:sldLayoutMkLst>
            <pc:docMk/>
            <pc:sldMasterMk cId="4189170703" sldId="2147483680"/>
            <pc:sldLayoutMk cId="1131539201" sldId="2147483681"/>
          </pc:sldLayoutMkLst>
        </pc:sldLayoutChg>
      </pc:sldMasterChg>
      <pc:sldMasterChg chg="addSp delSp modSp mod setBg modSldLayout">
        <pc:chgData name="Ray Glasheen" userId="785f7a1a-8d11-4bab-9525-84d3cd0677d5" providerId="ADAL" clId="{7DA55DAB-EE22-2645-A658-6D55D09FC165}" dt="2022-05-06T16:53:34.692" v="80"/>
        <pc:sldMasterMkLst>
          <pc:docMk/>
          <pc:sldMasterMk cId="1758291486" sldId="2147483682"/>
        </pc:sldMasterMkLst>
        <pc:sldLayoutChg chg="addSp delSp">
          <pc:chgData name="Ray Glasheen" userId="785f7a1a-8d11-4bab-9525-84d3cd0677d5" providerId="ADAL" clId="{7DA55DAB-EE22-2645-A658-6D55D09FC165}" dt="2022-05-06T16:51:27.328" v="68"/>
          <pc:sldLayoutMkLst>
            <pc:docMk/>
            <pc:sldMasterMk cId="1758291486" sldId="2147483682"/>
            <pc:sldLayoutMk cId="4187323503" sldId="2147483683"/>
          </pc:sldLayoutMkLst>
        </pc:sldLayoutChg>
      </pc:sldMasterChg>
      <pc:sldMasterChg chg="mod setBg">
        <pc:chgData name="Ray Glasheen" userId="785f7a1a-8d11-4bab-9525-84d3cd0677d5" providerId="ADAL" clId="{7DA55DAB-EE22-2645-A658-6D55D09FC165}" dt="2022-05-06T16:44:13.010" v="27" actId="6014"/>
        <pc:sldMasterMkLst>
          <pc:docMk/>
          <pc:sldMasterMk cId="102519618" sldId="2147483684"/>
        </pc:sldMasterMkLst>
      </pc:sldMasterChg>
    </pc:docChg>
  </pc:docChgLst>
  <pc:docChgLst>
    <pc:chgData name="Mats Necker" userId="2d97bddf-6881-4b42-b7ae-84f5465d8fc5" providerId="ADAL" clId="{122C8E03-CE66-4182-ABF4-23D83BA3F0E1}"/>
    <pc:docChg chg="undo custSel addSld delSld modSld sldOrd modMainMaster">
      <pc:chgData name="Mats Necker" userId="2d97bddf-6881-4b42-b7ae-84f5465d8fc5" providerId="ADAL" clId="{122C8E03-CE66-4182-ABF4-23D83BA3F0E1}" dt="2025-06-15T08:44:31.298" v="1182" actId="1076"/>
      <pc:docMkLst>
        <pc:docMk/>
      </pc:docMkLst>
      <pc:sldChg chg="addSp delSp modSp mod">
        <pc:chgData name="Mats Necker" userId="2d97bddf-6881-4b42-b7ae-84f5465d8fc5" providerId="ADAL" clId="{122C8E03-CE66-4182-ABF4-23D83BA3F0E1}" dt="2025-06-15T08:44:31.298" v="1182" actId="1076"/>
        <pc:sldMkLst>
          <pc:docMk/>
          <pc:sldMk cId="350046711" sldId="258"/>
        </pc:sldMkLst>
        <pc:spChg chg="mod">
          <ac:chgData name="Mats Necker" userId="2d97bddf-6881-4b42-b7ae-84f5465d8fc5" providerId="ADAL" clId="{122C8E03-CE66-4182-ABF4-23D83BA3F0E1}" dt="2025-06-15T07:40:09.196" v="2"/>
          <ac:spMkLst>
            <pc:docMk/>
            <pc:sldMk cId="350046711" sldId="258"/>
            <ac:spMk id="2" creationId="{AF9FE7F2-7594-C345-99E2-801E68C39CBF}"/>
          </ac:spMkLst>
        </pc:spChg>
        <pc:spChg chg="mod">
          <ac:chgData name="Mats Necker" userId="2d97bddf-6881-4b42-b7ae-84f5465d8fc5" providerId="ADAL" clId="{122C8E03-CE66-4182-ABF4-23D83BA3F0E1}" dt="2025-06-15T07:40:23.300" v="38" actId="20577"/>
          <ac:spMkLst>
            <pc:docMk/>
            <pc:sldMk cId="350046711" sldId="258"/>
            <ac:spMk id="3" creationId="{43EEEF1E-D858-9C47-9A95-2D236BFD2F31}"/>
          </ac:spMkLst>
        </pc:spChg>
        <pc:spChg chg="mod">
          <ac:chgData name="Mats Necker" userId="2d97bddf-6881-4b42-b7ae-84f5465d8fc5" providerId="ADAL" clId="{122C8E03-CE66-4182-ABF4-23D83BA3F0E1}" dt="2025-06-15T08:42:10.486" v="1180" actId="20577"/>
          <ac:spMkLst>
            <pc:docMk/>
            <pc:sldMk cId="350046711" sldId="258"/>
            <ac:spMk id="4" creationId="{12D3891A-AA58-D14F-909B-BF581581CD69}"/>
          </ac:spMkLst>
        </pc:spChg>
        <pc:spChg chg="del mod">
          <ac:chgData name="Mats Necker" userId="2d97bddf-6881-4b42-b7ae-84f5465d8fc5" providerId="ADAL" clId="{122C8E03-CE66-4182-ABF4-23D83BA3F0E1}" dt="2025-06-15T07:58:54.175" v="823" actId="931"/>
          <ac:spMkLst>
            <pc:docMk/>
            <pc:sldMk cId="350046711" sldId="258"/>
            <ac:spMk id="7" creationId="{107F331A-088A-5E4B-ADDD-52C41D93C27C}"/>
          </ac:spMkLst>
        </pc:spChg>
        <pc:picChg chg="add mod">
          <ac:chgData name="Mats Necker" userId="2d97bddf-6881-4b42-b7ae-84f5465d8fc5" providerId="ADAL" clId="{122C8E03-CE66-4182-ABF4-23D83BA3F0E1}" dt="2025-06-15T08:44:31.298" v="1182" actId="1076"/>
          <ac:picMkLst>
            <pc:docMk/>
            <pc:sldMk cId="350046711" sldId="258"/>
            <ac:picMk id="6" creationId="{C06A534B-E420-59D5-E37D-B9FAE4F91E5A}"/>
          </ac:picMkLst>
        </pc:picChg>
        <pc:picChg chg="add mod">
          <ac:chgData name="Mats Necker" userId="2d97bddf-6881-4b42-b7ae-84f5465d8fc5" providerId="ADAL" clId="{122C8E03-CE66-4182-ABF4-23D83BA3F0E1}" dt="2025-06-15T08:44:29.848" v="1181" actId="1076"/>
          <ac:picMkLst>
            <pc:docMk/>
            <pc:sldMk cId="350046711" sldId="258"/>
            <ac:picMk id="8" creationId="{F462146E-6987-9EEF-D6FB-019452163232}"/>
          </ac:picMkLst>
        </pc:picChg>
      </pc:sldChg>
      <pc:sldChg chg="addSp delSp modSp del mod modClrScheme chgLayout">
        <pc:chgData name="Mats Necker" userId="2d97bddf-6881-4b42-b7ae-84f5465d8fc5" providerId="ADAL" clId="{122C8E03-CE66-4182-ABF4-23D83BA3F0E1}" dt="2025-06-15T07:56:01.403" v="772" actId="47"/>
        <pc:sldMkLst>
          <pc:docMk/>
          <pc:sldMk cId="1474078492" sldId="261"/>
        </pc:sldMkLst>
        <pc:spChg chg="mod ord">
          <ac:chgData name="Mats Necker" userId="2d97bddf-6881-4b42-b7ae-84f5465d8fc5" providerId="ADAL" clId="{122C8E03-CE66-4182-ABF4-23D83BA3F0E1}" dt="2025-06-15T07:55:59.272" v="771" actId="700"/>
          <ac:spMkLst>
            <pc:docMk/>
            <pc:sldMk cId="1474078492" sldId="261"/>
            <ac:spMk id="2" creationId="{BD9E7A4B-103B-A243-ACCD-0C9FE7384C12}"/>
          </ac:spMkLst>
        </pc:spChg>
        <pc:spChg chg="mod ord">
          <ac:chgData name="Mats Necker" userId="2d97bddf-6881-4b42-b7ae-84f5465d8fc5" providerId="ADAL" clId="{122C8E03-CE66-4182-ABF4-23D83BA3F0E1}" dt="2025-06-15T07:55:59.272" v="771" actId="700"/>
          <ac:spMkLst>
            <pc:docMk/>
            <pc:sldMk cId="1474078492" sldId="261"/>
            <ac:spMk id="3" creationId="{16B9935E-E93C-3340-8D3C-C7F133794DBC}"/>
          </ac:spMkLst>
        </pc:spChg>
        <pc:spChg chg="add del mod ord">
          <ac:chgData name="Mats Necker" userId="2d97bddf-6881-4b42-b7ae-84f5465d8fc5" providerId="ADAL" clId="{122C8E03-CE66-4182-ABF4-23D83BA3F0E1}" dt="2025-06-15T07:55:59.272" v="771" actId="700"/>
          <ac:spMkLst>
            <pc:docMk/>
            <pc:sldMk cId="1474078492" sldId="261"/>
            <ac:spMk id="4" creationId="{ED772379-AE51-9A17-93EC-0B935E80F02E}"/>
          </ac:spMkLst>
        </pc:spChg>
        <pc:spChg chg="add mod ord">
          <ac:chgData name="Mats Necker" userId="2d97bddf-6881-4b42-b7ae-84f5465d8fc5" providerId="ADAL" clId="{122C8E03-CE66-4182-ABF4-23D83BA3F0E1}" dt="2025-06-15T07:55:59.272" v="771" actId="700"/>
          <ac:spMkLst>
            <pc:docMk/>
            <pc:sldMk cId="1474078492" sldId="261"/>
            <ac:spMk id="5" creationId="{6423BAB1-E00C-0AEA-5346-91A8869F338C}"/>
          </ac:spMkLst>
        </pc:spChg>
      </pc:sldChg>
      <pc:sldChg chg="del">
        <pc:chgData name="Mats Necker" userId="2d97bddf-6881-4b42-b7ae-84f5465d8fc5" providerId="ADAL" clId="{122C8E03-CE66-4182-ABF4-23D83BA3F0E1}" dt="2025-06-15T08:17:46.931" v="1050" actId="47"/>
        <pc:sldMkLst>
          <pc:docMk/>
          <pc:sldMk cId="1157289511" sldId="262"/>
        </pc:sldMkLst>
      </pc:sldChg>
      <pc:sldChg chg="del">
        <pc:chgData name="Mats Necker" userId="2d97bddf-6881-4b42-b7ae-84f5465d8fc5" providerId="ADAL" clId="{122C8E03-CE66-4182-ABF4-23D83BA3F0E1}" dt="2025-06-15T08:35:19.625" v="1104" actId="47"/>
        <pc:sldMkLst>
          <pc:docMk/>
          <pc:sldMk cId="3326974690" sldId="263"/>
        </pc:sldMkLst>
      </pc:sldChg>
      <pc:sldChg chg="del">
        <pc:chgData name="Mats Necker" userId="2d97bddf-6881-4b42-b7ae-84f5465d8fc5" providerId="ADAL" clId="{122C8E03-CE66-4182-ABF4-23D83BA3F0E1}" dt="2025-06-15T08:35:19.625" v="1104" actId="47"/>
        <pc:sldMkLst>
          <pc:docMk/>
          <pc:sldMk cId="3577289732" sldId="264"/>
        </pc:sldMkLst>
      </pc:sldChg>
      <pc:sldChg chg="del">
        <pc:chgData name="Mats Necker" userId="2d97bddf-6881-4b42-b7ae-84f5465d8fc5" providerId="ADAL" clId="{122C8E03-CE66-4182-ABF4-23D83BA3F0E1}" dt="2025-06-15T08:35:19.625" v="1104" actId="47"/>
        <pc:sldMkLst>
          <pc:docMk/>
          <pc:sldMk cId="2735981974" sldId="265"/>
        </pc:sldMkLst>
      </pc:sldChg>
      <pc:sldChg chg="del">
        <pc:chgData name="Mats Necker" userId="2d97bddf-6881-4b42-b7ae-84f5465d8fc5" providerId="ADAL" clId="{122C8E03-CE66-4182-ABF4-23D83BA3F0E1}" dt="2025-06-15T08:35:19.625" v="1104" actId="47"/>
        <pc:sldMkLst>
          <pc:docMk/>
          <pc:sldMk cId="998035033" sldId="266"/>
        </pc:sldMkLst>
      </pc:sldChg>
      <pc:sldChg chg="modSp mod">
        <pc:chgData name="Mats Necker" userId="2d97bddf-6881-4b42-b7ae-84f5465d8fc5" providerId="ADAL" clId="{122C8E03-CE66-4182-ABF4-23D83BA3F0E1}" dt="2025-06-15T07:42:50.762" v="61" actId="403"/>
        <pc:sldMkLst>
          <pc:docMk/>
          <pc:sldMk cId="391276983" sldId="267"/>
        </pc:sldMkLst>
        <pc:spChg chg="mod">
          <ac:chgData name="Mats Necker" userId="2d97bddf-6881-4b42-b7ae-84f5465d8fc5" providerId="ADAL" clId="{122C8E03-CE66-4182-ABF4-23D83BA3F0E1}" dt="2025-06-15T07:42:50.762" v="61" actId="403"/>
          <ac:spMkLst>
            <pc:docMk/>
            <pc:sldMk cId="391276983" sldId="267"/>
            <ac:spMk id="2" creationId="{C448848D-FDC8-0E4A-A9A5-45DDD99E9CB7}"/>
          </ac:spMkLst>
        </pc:spChg>
      </pc:sldChg>
      <pc:sldChg chg="addSp delSp modSp mod modClrScheme chgLayout">
        <pc:chgData name="Mats Necker" userId="2d97bddf-6881-4b42-b7ae-84f5465d8fc5" providerId="ADAL" clId="{122C8E03-CE66-4182-ABF4-23D83BA3F0E1}" dt="2025-06-15T08:04:28.184" v="868" actId="1076"/>
        <pc:sldMkLst>
          <pc:docMk/>
          <pc:sldMk cId="1510906715" sldId="268"/>
        </pc:sldMkLst>
        <pc:spChg chg="del mod ord">
          <ac:chgData name="Mats Necker" userId="2d97bddf-6881-4b42-b7ae-84f5465d8fc5" providerId="ADAL" clId="{122C8E03-CE66-4182-ABF4-23D83BA3F0E1}" dt="2025-06-15T07:56:04.863" v="773" actId="700"/>
          <ac:spMkLst>
            <pc:docMk/>
            <pc:sldMk cId="1510906715" sldId="268"/>
            <ac:spMk id="2" creationId="{8EE4798F-ADE4-4A47-81D7-2A692EDC350F}"/>
          </ac:spMkLst>
        </pc:spChg>
        <pc:spChg chg="del mod ord">
          <ac:chgData name="Mats Necker" userId="2d97bddf-6881-4b42-b7ae-84f5465d8fc5" providerId="ADAL" clId="{122C8E03-CE66-4182-ABF4-23D83BA3F0E1}" dt="2025-06-15T07:56:04.863" v="773" actId="700"/>
          <ac:spMkLst>
            <pc:docMk/>
            <pc:sldMk cId="1510906715" sldId="268"/>
            <ac:spMk id="3" creationId="{46B2E5B8-0429-6A47-88B2-32911952F679}"/>
          </ac:spMkLst>
        </pc:spChg>
        <pc:spChg chg="add del mod ord">
          <ac:chgData name="Mats Necker" userId="2d97bddf-6881-4b42-b7ae-84f5465d8fc5" providerId="ADAL" clId="{122C8E03-CE66-4182-ABF4-23D83BA3F0E1}" dt="2025-06-15T08:03:30.641" v="864" actId="478"/>
          <ac:spMkLst>
            <pc:docMk/>
            <pc:sldMk cId="1510906715" sldId="268"/>
            <ac:spMk id="4" creationId="{AD0E1B5F-8B88-CF1E-C3B6-A7FC1BB96C9A}"/>
          </ac:spMkLst>
        </pc:spChg>
        <pc:spChg chg="add mod ord">
          <ac:chgData name="Mats Necker" userId="2d97bddf-6881-4b42-b7ae-84f5465d8fc5" providerId="ADAL" clId="{122C8E03-CE66-4182-ABF4-23D83BA3F0E1}" dt="2025-06-15T08:03:22.405" v="861" actId="404"/>
          <ac:spMkLst>
            <pc:docMk/>
            <pc:sldMk cId="1510906715" sldId="268"/>
            <ac:spMk id="5" creationId="{26E49435-645E-A80F-8A83-F60F02189612}"/>
          </ac:spMkLst>
        </pc:spChg>
        <pc:spChg chg="add mod ord">
          <ac:chgData name="Mats Necker" userId="2d97bddf-6881-4b42-b7ae-84f5465d8fc5" providerId="ADAL" clId="{122C8E03-CE66-4182-ABF4-23D83BA3F0E1}" dt="2025-06-15T08:03:33.464" v="865" actId="20577"/>
          <ac:spMkLst>
            <pc:docMk/>
            <pc:sldMk cId="1510906715" sldId="268"/>
            <ac:spMk id="6" creationId="{3C8D54B8-E257-D1A2-E3C7-38D0D59CB881}"/>
          </ac:spMkLst>
        </pc:spChg>
        <pc:picChg chg="add mod">
          <ac:chgData name="Mats Necker" userId="2d97bddf-6881-4b42-b7ae-84f5465d8fc5" providerId="ADAL" clId="{122C8E03-CE66-4182-ABF4-23D83BA3F0E1}" dt="2025-06-15T07:59:51.864" v="840" actId="1076"/>
          <ac:picMkLst>
            <pc:docMk/>
            <pc:sldMk cId="1510906715" sldId="268"/>
            <ac:picMk id="7" creationId="{DB27161E-0246-C7C1-4424-C02A71FED299}"/>
          </ac:picMkLst>
        </pc:picChg>
        <pc:picChg chg="add mod">
          <ac:chgData name="Mats Necker" userId="2d97bddf-6881-4b42-b7ae-84f5465d8fc5" providerId="ADAL" clId="{122C8E03-CE66-4182-ABF4-23D83BA3F0E1}" dt="2025-06-15T07:59:49.062" v="839" actId="1076"/>
          <ac:picMkLst>
            <pc:docMk/>
            <pc:sldMk cId="1510906715" sldId="268"/>
            <ac:picMk id="8" creationId="{E24E7938-D646-6642-DDAE-53066B94AA13}"/>
          </ac:picMkLst>
        </pc:picChg>
        <pc:picChg chg="add mod">
          <ac:chgData name="Mats Necker" userId="2d97bddf-6881-4b42-b7ae-84f5465d8fc5" providerId="ADAL" clId="{122C8E03-CE66-4182-ABF4-23D83BA3F0E1}" dt="2025-06-15T08:04:28.184" v="868" actId="1076"/>
          <ac:picMkLst>
            <pc:docMk/>
            <pc:sldMk cId="1510906715" sldId="268"/>
            <ac:picMk id="1026" creationId="{2EF6D6DB-A468-E78D-DBAA-23185A6EBE4D}"/>
          </ac:picMkLst>
        </pc:picChg>
      </pc:sldChg>
      <pc:sldChg chg="addSp delSp modSp del mod modClrScheme chgLayout">
        <pc:chgData name="Mats Necker" userId="2d97bddf-6881-4b42-b7ae-84f5465d8fc5" providerId="ADAL" clId="{122C8E03-CE66-4182-ABF4-23D83BA3F0E1}" dt="2025-06-15T08:38:04.602" v="1106" actId="47"/>
        <pc:sldMkLst>
          <pc:docMk/>
          <pc:sldMk cId="2444015328" sldId="269"/>
        </pc:sldMkLst>
        <pc:spChg chg="del">
          <ac:chgData name="Mats Necker" userId="2d97bddf-6881-4b42-b7ae-84f5465d8fc5" providerId="ADAL" clId="{122C8E03-CE66-4182-ABF4-23D83BA3F0E1}" dt="2025-06-15T08:38:02.314" v="1105" actId="700"/>
          <ac:spMkLst>
            <pc:docMk/>
            <pc:sldMk cId="2444015328" sldId="269"/>
            <ac:spMk id="2" creationId="{4E988BC2-77A6-DB4D-B85B-B8762C5421F1}"/>
          </ac:spMkLst>
        </pc:spChg>
        <pc:spChg chg="del mod ord">
          <ac:chgData name="Mats Necker" userId="2d97bddf-6881-4b42-b7ae-84f5465d8fc5" providerId="ADAL" clId="{122C8E03-CE66-4182-ABF4-23D83BA3F0E1}" dt="2025-06-15T08:38:02.314" v="1105" actId="700"/>
          <ac:spMkLst>
            <pc:docMk/>
            <pc:sldMk cId="2444015328" sldId="269"/>
            <ac:spMk id="3" creationId="{FA9C1927-A0D8-0E45-BFE5-E4165F507E42}"/>
          </ac:spMkLst>
        </pc:spChg>
        <pc:spChg chg="del">
          <ac:chgData name="Mats Necker" userId="2d97bddf-6881-4b42-b7ae-84f5465d8fc5" providerId="ADAL" clId="{122C8E03-CE66-4182-ABF4-23D83BA3F0E1}" dt="2025-06-15T08:38:02.314" v="1105" actId="700"/>
          <ac:spMkLst>
            <pc:docMk/>
            <pc:sldMk cId="2444015328" sldId="269"/>
            <ac:spMk id="4" creationId="{2C9854A4-0378-6E4F-8412-934EBE12F294}"/>
          </ac:spMkLst>
        </pc:spChg>
        <pc:spChg chg="add mod ord">
          <ac:chgData name="Mats Necker" userId="2d97bddf-6881-4b42-b7ae-84f5465d8fc5" providerId="ADAL" clId="{122C8E03-CE66-4182-ABF4-23D83BA3F0E1}" dt="2025-06-15T08:38:02.314" v="1105" actId="700"/>
          <ac:spMkLst>
            <pc:docMk/>
            <pc:sldMk cId="2444015328" sldId="269"/>
            <ac:spMk id="5" creationId="{B2C6E1A0-171A-CCB7-E27B-4A5A49D933A1}"/>
          </ac:spMkLst>
        </pc:spChg>
      </pc:sldChg>
      <pc:sldChg chg="del">
        <pc:chgData name="Mats Necker" userId="2d97bddf-6881-4b42-b7ae-84f5465d8fc5" providerId="ADAL" clId="{122C8E03-CE66-4182-ABF4-23D83BA3F0E1}" dt="2025-06-15T08:35:19.625" v="1104" actId="47"/>
        <pc:sldMkLst>
          <pc:docMk/>
          <pc:sldMk cId="656950007" sldId="270"/>
        </pc:sldMkLst>
      </pc:sldChg>
      <pc:sldChg chg="del">
        <pc:chgData name="Mats Necker" userId="2d97bddf-6881-4b42-b7ae-84f5465d8fc5" providerId="ADAL" clId="{122C8E03-CE66-4182-ABF4-23D83BA3F0E1}" dt="2025-06-15T08:39:30.417" v="1146" actId="47"/>
        <pc:sldMkLst>
          <pc:docMk/>
          <pc:sldMk cId="3898693924" sldId="271"/>
        </pc:sldMkLst>
      </pc:sldChg>
      <pc:sldChg chg="addSp delSp modSp new mod ord modClrScheme chgLayout">
        <pc:chgData name="Mats Necker" userId="2d97bddf-6881-4b42-b7ae-84f5465d8fc5" providerId="ADAL" clId="{122C8E03-CE66-4182-ABF4-23D83BA3F0E1}" dt="2025-06-15T07:52:51.140" v="769" actId="20577"/>
        <pc:sldMkLst>
          <pc:docMk/>
          <pc:sldMk cId="4018254821" sldId="272"/>
        </pc:sldMkLst>
        <pc:spChg chg="del mod ord">
          <ac:chgData name="Mats Necker" userId="2d97bddf-6881-4b42-b7ae-84f5465d8fc5" providerId="ADAL" clId="{122C8E03-CE66-4182-ABF4-23D83BA3F0E1}" dt="2025-06-15T07:43:57.651" v="109" actId="700"/>
          <ac:spMkLst>
            <pc:docMk/>
            <pc:sldMk cId="4018254821" sldId="272"/>
            <ac:spMk id="2" creationId="{D4E6E5C0-EB2B-75B2-4E87-81EB1D7A5855}"/>
          </ac:spMkLst>
        </pc:spChg>
        <pc:spChg chg="del mod ord">
          <ac:chgData name="Mats Necker" userId="2d97bddf-6881-4b42-b7ae-84f5465d8fc5" providerId="ADAL" clId="{122C8E03-CE66-4182-ABF4-23D83BA3F0E1}" dt="2025-06-15T07:43:57.651" v="109" actId="700"/>
          <ac:spMkLst>
            <pc:docMk/>
            <pc:sldMk cId="4018254821" sldId="272"/>
            <ac:spMk id="3" creationId="{F99C4AB3-A9F6-FA68-4E79-8324F1C686B9}"/>
          </ac:spMkLst>
        </pc:spChg>
        <pc:spChg chg="add mod ord">
          <ac:chgData name="Mats Necker" userId="2d97bddf-6881-4b42-b7ae-84f5465d8fc5" providerId="ADAL" clId="{122C8E03-CE66-4182-ABF4-23D83BA3F0E1}" dt="2025-06-15T07:45:49.071" v="129" actId="20577"/>
          <ac:spMkLst>
            <pc:docMk/>
            <pc:sldMk cId="4018254821" sldId="272"/>
            <ac:spMk id="4" creationId="{825A2204-1257-5672-F97F-5E25D1621121}"/>
          </ac:spMkLst>
        </pc:spChg>
        <pc:spChg chg="add mod ord">
          <ac:chgData name="Mats Necker" userId="2d97bddf-6881-4b42-b7ae-84f5465d8fc5" providerId="ADAL" clId="{122C8E03-CE66-4182-ABF4-23D83BA3F0E1}" dt="2025-06-15T07:52:51.140" v="769" actId="20577"/>
          <ac:spMkLst>
            <pc:docMk/>
            <pc:sldMk cId="4018254821" sldId="272"/>
            <ac:spMk id="5" creationId="{EBDF8977-59B6-6915-0364-1886EF0C41E0}"/>
          </ac:spMkLst>
        </pc:spChg>
      </pc:sldChg>
      <pc:sldChg chg="add">
        <pc:chgData name="Mats Necker" userId="2d97bddf-6881-4b42-b7ae-84f5465d8fc5" providerId="ADAL" clId="{122C8E03-CE66-4182-ABF4-23D83BA3F0E1}" dt="2025-06-15T08:09:30.734" v="986"/>
        <pc:sldMkLst>
          <pc:docMk/>
          <pc:sldMk cId="579218646" sldId="575"/>
        </pc:sldMkLst>
      </pc:sldChg>
      <pc:sldChg chg="delSp modSp add del mod setBg delDesignElem">
        <pc:chgData name="Mats Necker" userId="2d97bddf-6881-4b42-b7ae-84f5465d8fc5" providerId="ADAL" clId="{122C8E03-CE66-4182-ABF4-23D83BA3F0E1}" dt="2025-06-15T08:05:58.702" v="876" actId="20577"/>
        <pc:sldMkLst>
          <pc:docMk/>
          <pc:sldMk cId="1607594526" sldId="2147472890"/>
        </pc:sldMkLst>
        <pc:spChg chg="mod">
          <ac:chgData name="Mats Necker" userId="2d97bddf-6881-4b42-b7ae-84f5465d8fc5" providerId="ADAL" clId="{122C8E03-CE66-4182-ABF4-23D83BA3F0E1}" dt="2025-06-15T08:05:58.702" v="876" actId="20577"/>
          <ac:spMkLst>
            <pc:docMk/>
            <pc:sldMk cId="1607594526" sldId="2147472890"/>
            <ac:spMk id="6" creationId="{6D2B5F28-7478-AF88-1E8F-4A6CD5552888}"/>
          </ac:spMkLst>
        </pc:spChg>
        <pc:spChg chg="mod">
          <ac:chgData name="Mats Necker" userId="2d97bddf-6881-4b42-b7ae-84f5465d8fc5" providerId="ADAL" clId="{122C8E03-CE66-4182-ABF4-23D83BA3F0E1}" dt="2025-06-15T08:05:50.417" v="873" actId="207"/>
          <ac:spMkLst>
            <pc:docMk/>
            <pc:sldMk cId="1607594526" sldId="2147472890"/>
            <ac:spMk id="7" creationId="{B0B9FB55-7C7E-232F-12AC-1D97BC940669}"/>
          </ac:spMkLst>
        </pc:spChg>
        <pc:spChg chg="del">
          <ac:chgData name="Mats Necker" userId="2d97bddf-6881-4b42-b7ae-84f5465d8fc5" providerId="ADAL" clId="{122C8E03-CE66-4182-ABF4-23D83BA3F0E1}" dt="2025-06-15T08:05:32.766" v="870"/>
          <ac:spMkLst>
            <pc:docMk/>
            <pc:sldMk cId="1607594526" sldId="2147472890"/>
            <ac:spMk id="1031" creationId="{0671A8AE-40A1-4631-A6B8-581AFF065482}"/>
          </ac:spMkLst>
        </pc:spChg>
        <pc:spChg chg="del">
          <ac:chgData name="Mats Necker" userId="2d97bddf-6881-4b42-b7ae-84f5465d8fc5" providerId="ADAL" clId="{122C8E03-CE66-4182-ABF4-23D83BA3F0E1}" dt="2025-06-15T08:05:32.766" v="870"/>
          <ac:spMkLst>
            <pc:docMk/>
            <pc:sldMk cId="1607594526" sldId="2147472890"/>
            <ac:spMk id="1033" creationId="{AB58EF07-17C2-48CF-ABB0-EEF1F17CB8F0}"/>
          </ac:spMkLst>
        </pc:spChg>
        <pc:spChg chg="del">
          <ac:chgData name="Mats Necker" userId="2d97bddf-6881-4b42-b7ae-84f5465d8fc5" providerId="ADAL" clId="{122C8E03-CE66-4182-ABF4-23D83BA3F0E1}" dt="2025-06-15T08:05:32.766" v="870"/>
          <ac:spMkLst>
            <pc:docMk/>
            <pc:sldMk cId="1607594526" sldId="2147472890"/>
            <ac:spMk id="1035" creationId="{AF2F604E-43BE-4DC3-B983-E071523364F8}"/>
          </ac:spMkLst>
        </pc:spChg>
        <pc:spChg chg="del">
          <ac:chgData name="Mats Necker" userId="2d97bddf-6881-4b42-b7ae-84f5465d8fc5" providerId="ADAL" clId="{122C8E03-CE66-4182-ABF4-23D83BA3F0E1}" dt="2025-06-15T08:05:32.766" v="870"/>
          <ac:spMkLst>
            <pc:docMk/>
            <pc:sldMk cId="1607594526" sldId="2147472890"/>
            <ac:spMk id="1037" creationId="{08C9B587-E65E-4B52-B37C-ABEBB6E87928}"/>
          </ac:spMkLst>
        </pc:spChg>
      </pc:sldChg>
      <pc:sldChg chg="modSp add mod setBg">
        <pc:chgData name="Mats Necker" userId="2d97bddf-6881-4b42-b7ae-84f5465d8fc5" providerId="ADAL" clId="{122C8E03-CE66-4182-ABF4-23D83BA3F0E1}" dt="2025-06-15T08:06:19.313" v="898"/>
        <pc:sldMkLst>
          <pc:docMk/>
          <pc:sldMk cId="3856323483" sldId="2147472891"/>
        </pc:sldMkLst>
        <pc:spChg chg="mod">
          <ac:chgData name="Mats Necker" userId="2d97bddf-6881-4b42-b7ae-84f5465d8fc5" providerId="ADAL" clId="{122C8E03-CE66-4182-ABF4-23D83BA3F0E1}" dt="2025-06-15T08:06:19.313" v="898"/>
          <ac:spMkLst>
            <pc:docMk/>
            <pc:sldMk cId="3856323483" sldId="2147472891"/>
            <ac:spMk id="2" creationId="{5454A363-9914-CA92-C6D0-6229058CCB7F}"/>
          </ac:spMkLst>
        </pc:spChg>
      </pc:sldChg>
      <pc:sldChg chg="add">
        <pc:chgData name="Mats Necker" userId="2d97bddf-6881-4b42-b7ae-84f5465d8fc5" providerId="ADAL" clId="{122C8E03-CE66-4182-ABF4-23D83BA3F0E1}" dt="2025-06-15T08:10:25.469" v="988"/>
        <pc:sldMkLst>
          <pc:docMk/>
          <pc:sldMk cId="1861616986" sldId="2147479697"/>
        </pc:sldMkLst>
      </pc:sldChg>
      <pc:sldChg chg="add">
        <pc:chgData name="Mats Necker" userId="2d97bddf-6881-4b42-b7ae-84f5465d8fc5" providerId="ADAL" clId="{122C8E03-CE66-4182-ABF4-23D83BA3F0E1}" dt="2025-06-15T08:09:30.734" v="986"/>
        <pc:sldMkLst>
          <pc:docMk/>
          <pc:sldMk cId="2101461268" sldId="2147479698"/>
        </pc:sldMkLst>
      </pc:sldChg>
      <pc:sldChg chg="addSp modSp add del mod">
        <pc:chgData name="Mats Necker" userId="2d97bddf-6881-4b42-b7ae-84f5465d8fc5" providerId="ADAL" clId="{122C8E03-CE66-4182-ABF4-23D83BA3F0E1}" dt="2025-06-15T08:17:43.738" v="1049"/>
        <pc:sldMkLst>
          <pc:docMk/>
          <pc:sldMk cId="3446179560" sldId="2147479700"/>
        </pc:sldMkLst>
        <pc:spChg chg="add mod">
          <ac:chgData name="Mats Necker" userId="2d97bddf-6881-4b42-b7ae-84f5465d8fc5" providerId="ADAL" clId="{122C8E03-CE66-4182-ABF4-23D83BA3F0E1}" dt="2025-06-15T08:17:13.064" v="1047" actId="1076"/>
          <ac:spMkLst>
            <pc:docMk/>
            <pc:sldMk cId="3446179560" sldId="2147479700"/>
            <ac:spMk id="2" creationId="{D61017D3-7D02-9BBE-C251-8904A7821D4D}"/>
          </ac:spMkLst>
        </pc:spChg>
        <pc:spChg chg="mod">
          <ac:chgData name="Mats Necker" userId="2d97bddf-6881-4b42-b7ae-84f5465d8fc5" providerId="ADAL" clId="{122C8E03-CE66-4182-ABF4-23D83BA3F0E1}" dt="2025-06-15T08:16:58.500" v="1023" actId="6549"/>
          <ac:spMkLst>
            <pc:docMk/>
            <pc:sldMk cId="3446179560" sldId="2147479700"/>
            <ac:spMk id="4" creationId="{F348A481-C16D-DBEE-8888-9BD9273EEAF3}"/>
          </ac:spMkLst>
        </pc:spChg>
        <pc:picChg chg="mod">
          <ac:chgData name="Mats Necker" userId="2d97bddf-6881-4b42-b7ae-84f5465d8fc5" providerId="ADAL" clId="{122C8E03-CE66-4182-ABF4-23D83BA3F0E1}" dt="2025-06-15T08:16:46.275" v="1022" actId="1076"/>
          <ac:picMkLst>
            <pc:docMk/>
            <pc:sldMk cId="3446179560" sldId="2147479700"/>
            <ac:picMk id="7" creationId="{4D308AE4-2ED5-5050-FD9C-3662B6C76C01}"/>
          </ac:picMkLst>
        </pc:picChg>
      </pc:sldChg>
      <pc:sldChg chg="add del">
        <pc:chgData name="Mats Necker" userId="2d97bddf-6881-4b42-b7ae-84f5465d8fc5" providerId="ADAL" clId="{122C8E03-CE66-4182-ABF4-23D83BA3F0E1}" dt="2025-06-15T08:15:58.431" v="1019"/>
        <pc:sldMkLst>
          <pc:docMk/>
          <pc:sldMk cId="3228628609" sldId="2147479701"/>
        </pc:sldMkLst>
      </pc:sldChg>
      <pc:sldChg chg="modSp add mod">
        <pc:chgData name="Mats Necker" userId="2d97bddf-6881-4b42-b7ae-84f5465d8fc5" providerId="ADAL" clId="{122C8E03-CE66-4182-ABF4-23D83BA3F0E1}" dt="2025-06-15T08:33:25.685" v="1055" actId="207"/>
        <pc:sldMkLst>
          <pc:docMk/>
          <pc:sldMk cId="3190976860" sldId="2147479702"/>
        </pc:sldMkLst>
        <pc:spChg chg="mod">
          <ac:chgData name="Mats Necker" userId="2d97bddf-6881-4b42-b7ae-84f5465d8fc5" providerId="ADAL" clId="{122C8E03-CE66-4182-ABF4-23D83BA3F0E1}" dt="2025-06-15T08:33:25.685" v="1055" actId="207"/>
          <ac:spMkLst>
            <pc:docMk/>
            <pc:sldMk cId="3190976860" sldId="2147479702"/>
            <ac:spMk id="4" creationId="{64B1FB19-D730-132F-523A-3D21A218F6DA}"/>
          </ac:spMkLst>
        </pc:spChg>
      </pc:sldChg>
      <pc:sldChg chg="delSp modSp add mod">
        <pc:chgData name="Mats Necker" userId="2d97bddf-6881-4b42-b7ae-84f5465d8fc5" providerId="ADAL" clId="{122C8E03-CE66-4182-ABF4-23D83BA3F0E1}" dt="2025-06-15T08:35:04.457" v="1102" actId="478"/>
        <pc:sldMkLst>
          <pc:docMk/>
          <pc:sldMk cId="135254172" sldId="2147479705"/>
        </pc:sldMkLst>
        <pc:spChg chg="mod">
          <ac:chgData name="Mats Necker" userId="2d97bddf-6881-4b42-b7ae-84f5465d8fc5" providerId="ADAL" clId="{122C8E03-CE66-4182-ABF4-23D83BA3F0E1}" dt="2025-06-15T08:35:01.768" v="1100" actId="1076"/>
          <ac:spMkLst>
            <pc:docMk/>
            <pc:sldMk cId="135254172" sldId="2147479705"/>
            <ac:spMk id="2" creationId="{4025FDEA-8B69-8C75-352F-B926B6FB573D}"/>
          </ac:spMkLst>
        </pc:spChg>
        <pc:spChg chg="del mod">
          <ac:chgData name="Mats Necker" userId="2d97bddf-6881-4b42-b7ae-84f5465d8fc5" providerId="ADAL" clId="{122C8E03-CE66-4182-ABF4-23D83BA3F0E1}" dt="2025-06-15T08:35:04.457" v="1102" actId="478"/>
          <ac:spMkLst>
            <pc:docMk/>
            <pc:sldMk cId="135254172" sldId="2147479705"/>
            <ac:spMk id="3" creationId="{FEC80EBF-7B67-0D41-665A-47C607710271}"/>
          </ac:spMkLst>
        </pc:spChg>
      </pc:sldChg>
      <pc:sldChg chg="modSp add mod">
        <pc:chgData name="Mats Necker" userId="2d97bddf-6881-4b42-b7ae-84f5465d8fc5" providerId="ADAL" clId="{122C8E03-CE66-4182-ABF4-23D83BA3F0E1}" dt="2025-06-15T08:17:58.083" v="1052" actId="207"/>
        <pc:sldMkLst>
          <pc:docMk/>
          <pc:sldMk cId="3937304817" sldId="2147479706"/>
        </pc:sldMkLst>
        <pc:spChg chg="mod">
          <ac:chgData name="Mats Necker" userId="2d97bddf-6881-4b42-b7ae-84f5465d8fc5" providerId="ADAL" clId="{122C8E03-CE66-4182-ABF4-23D83BA3F0E1}" dt="2025-06-15T08:17:58.083" v="1052" actId="207"/>
          <ac:spMkLst>
            <pc:docMk/>
            <pc:sldMk cId="3937304817" sldId="2147479706"/>
            <ac:spMk id="3" creationId="{457A4FFE-F759-CA7E-D4AF-1E828581944B}"/>
          </ac:spMkLst>
        </pc:spChg>
      </pc:sldChg>
      <pc:sldChg chg="modSp add mod">
        <pc:chgData name="Mats Necker" userId="2d97bddf-6881-4b42-b7ae-84f5465d8fc5" providerId="ADAL" clId="{122C8E03-CE66-4182-ABF4-23D83BA3F0E1}" dt="2025-06-15T08:33:22.053" v="1054" actId="207"/>
        <pc:sldMkLst>
          <pc:docMk/>
          <pc:sldMk cId="4243547176" sldId="2147479707"/>
        </pc:sldMkLst>
        <pc:spChg chg="mod">
          <ac:chgData name="Mats Necker" userId="2d97bddf-6881-4b42-b7ae-84f5465d8fc5" providerId="ADAL" clId="{122C8E03-CE66-4182-ABF4-23D83BA3F0E1}" dt="2025-06-15T08:33:22.053" v="1054" actId="207"/>
          <ac:spMkLst>
            <pc:docMk/>
            <pc:sldMk cId="4243547176" sldId="2147479707"/>
            <ac:spMk id="5" creationId="{C677A842-9314-947C-E0A2-D5708D8D8218}"/>
          </ac:spMkLst>
        </pc:spChg>
      </pc:sldChg>
      <pc:sldChg chg="add">
        <pc:chgData name="Mats Necker" userId="2d97bddf-6881-4b42-b7ae-84f5465d8fc5" providerId="ADAL" clId="{122C8E03-CE66-4182-ABF4-23D83BA3F0E1}" dt="2025-06-15T08:33:15.378" v="1053"/>
        <pc:sldMkLst>
          <pc:docMk/>
          <pc:sldMk cId="3067889820" sldId="2147479710"/>
        </pc:sldMkLst>
      </pc:sldChg>
      <pc:sldChg chg="addSp delSp modSp add mod">
        <pc:chgData name="Mats Necker" userId="2d97bddf-6881-4b42-b7ae-84f5465d8fc5" providerId="ADAL" clId="{122C8E03-CE66-4182-ABF4-23D83BA3F0E1}" dt="2025-06-15T08:35:08.321" v="1103" actId="478"/>
        <pc:sldMkLst>
          <pc:docMk/>
          <pc:sldMk cId="4148339923" sldId="2147479712"/>
        </pc:sldMkLst>
        <pc:spChg chg="mod">
          <ac:chgData name="Mats Necker" userId="2d97bddf-6881-4b42-b7ae-84f5465d8fc5" providerId="ADAL" clId="{122C8E03-CE66-4182-ABF4-23D83BA3F0E1}" dt="2025-06-15T08:34:34.156" v="1096" actId="1076"/>
          <ac:spMkLst>
            <pc:docMk/>
            <pc:sldMk cId="4148339923" sldId="2147479712"/>
            <ac:spMk id="2" creationId="{4025FDEA-8B69-8C75-352F-B926B6FB573D}"/>
          </ac:spMkLst>
        </pc:spChg>
        <pc:spChg chg="add del mod">
          <ac:chgData name="Mats Necker" userId="2d97bddf-6881-4b42-b7ae-84f5465d8fc5" providerId="ADAL" clId="{122C8E03-CE66-4182-ABF4-23D83BA3F0E1}" dt="2025-06-15T08:35:08.321" v="1103" actId="478"/>
          <ac:spMkLst>
            <pc:docMk/>
            <pc:sldMk cId="4148339923" sldId="2147479712"/>
            <ac:spMk id="3" creationId="{36A07BAD-6F28-35EB-4EF8-9EE75E504589}"/>
          </ac:spMkLst>
        </pc:spChg>
      </pc:sldChg>
      <pc:sldChg chg="add">
        <pc:chgData name="Mats Necker" userId="2d97bddf-6881-4b42-b7ae-84f5465d8fc5" providerId="ADAL" clId="{122C8E03-CE66-4182-ABF4-23D83BA3F0E1}" dt="2025-06-15T08:33:15.378" v="1053"/>
        <pc:sldMkLst>
          <pc:docMk/>
          <pc:sldMk cId="1209427033" sldId="2147479713"/>
        </pc:sldMkLst>
      </pc:sldChg>
      <pc:sldChg chg="add del">
        <pc:chgData name="Mats Necker" userId="2d97bddf-6881-4b42-b7ae-84f5465d8fc5" providerId="ADAL" clId="{122C8E03-CE66-4182-ABF4-23D83BA3F0E1}" dt="2025-06-15T08:15:25.943" v="1013"/>
        <pc:sldMkLst>
          <pc:docMk/>
          <pc:sldMk cId="1814275969" sldId="2147479718"/>
        </pc:sldMkLst>
      </pc:sldChg>
      <pc:sldChg chg="addSp delSp modSp add mod">
        <pc:chgData name="Mats Necker" userId="2d97bddf-6881-4b42-b7ae-84f5465d8fc5" providerId="ADAL" clId="{122C8E03-CE66-4182-ABF4-23D83BA3F0E1}" dt="2025-06-15T08:40:32.604" v="1152" actId="113"/>
        <pc:sldMkLst>
          <pc:docMk/>
          <pc:sldMk cId="545931190" sldId="2147479723"/>
        </pc:sldMkLst>
        <pc:spChg chg="add del mod">
          <ac:chgData name="Mats Necker" userId="2d97bddf-6881-4b42-b7ae-84f5465d8fc5" providerId="ADAL" clId="{122C8E03-CE66-4182-ABF4-23D83BA3F0E1}" dt="2025-06-15T08:40:32.604" v="1152" actId="113"/>
          <ac:spMkLst>
            <pc:docMk/>
            <pc:sldMk cId="545931190" sldId="2147479723"/>
            <ac:spMk id="2" creationId="{80681BF0-B48E-B6B2-CC2D-02C3C8D1EDD7}"/>
          </ac:spMkLst>
        </pc:spChg>
        <pc:spChg chg="add del mod">
          <ac:chgData name="Mats Necker" userId="2d97bddf-6881-4b42-b7ae-84f5465d8fc5" providerId="ADAL" clId="{122C8E03-CE66-4182-ABF4-23D83BA3F0E1}" dt="2025-06-15T08:40:29.164" v="1151" actId="478"/>
          <ac:spMkLst>
            <pc:docMk/>
            <pc:sldMk cId="545931190" sldId="2147479723"/>
            <ac:spMk id="5" creationId="{C353E01B-15E6-A847-1D99-A27E1F13DDA9}"/>
          </ac:spMkLst>
        </pc:spChg>
        <pc:spChg chg="add mod">
          <ac:chgData name="Mats Necker" userId="2d97bddf-6881-4b42-b7ae-84f5465d8fc5" providerId="ADAL" clId="{122C8E03-CE66-4182-ABF4-23D83BA3F0E1}" dt="2025-06-15T08:40:28.983" v="1150"/>
          <ac:spMkLst>
            <pc:docMk/>
            <pc:sldMk cId="545931190" sldId="2147479723"/>
            <ac:spMk id="6" creationId="{9FC8F06D-0211-9729-2563-455629998571}"/>
          </ac:spMkLst>
        </pc:spChg>
      </pc:sldChg>
      <pc:sldChg chg="addSp delSp modSp add mod modAnim">
        <pc:chgData name="Mats Necker" userId="2d97bddf-6881-4b42-b7ae-84f5465d8fc5" providerId="ADAL" clId="{122C8E03-CE66-4182-ABF4-23D83BA3F0E1}" dt="2025-06-15T08:09:54.675" v="987" actId="478"/>
        <pc:sldMkLst>
          <pc:docMk/>
          <pc:sldMk cId="2600007471" sldId="2147479735"/>
        </pc:sldMkLst>
        <pc:spChg chg="add del mod">
          <ac:chgData name="Mats Necker" userId="2d97bddf-6881-4b42-b7ae-84f5465d8fc5" providerId="ADAL" clId="{122C8E03-CE66-4182-ABF4-23D83BA3F0E1}" dt="2025-06-15T08:07:29.082" v="903" actId="478"/>
          <ac:spMkLst>
            <pc:docMk/>
            <pc:sldMk cId="2600007471" sldId="2147479735"/>
            <ac:spMk id="3" creationId="{945792BF-1550-0792-7CA1-53B9615B37A1}"/>
          </ac:spMkLst>
        </pc:spChg>
        <pc:spChg chg="del">
          <ac:chgData name="Mats Necker" userId="2d97bddf-6881-4b42-b7ae-84f5465d8fc5" providerId="ADAL" clId="{122C8E03-CE66-4182-ABF4-23D83BA3F0E1}" dt="2025-06-15T08:09:54.675" v="987" actId="478"/>
          <ac:spMkLst>
            <pc:docMk/>
            <pc:sldMk cId="2600007471" sldId="2147479735"/>
            <ac:spMk id="4" creationId="{22613253-A7F9-6B05-5F01-ADBB0F855953}"/>
          </ac:spMkLst>
        </pc:spChg>
        <pc:spChg chg="mod">
          <ac:chgData name="Mats Necker" userId="2d97bddf-6881-4b42-b7ae-84f5465d8fc5" providerId="ADAL" clId="{122C8E03-CE66-4182-ABF4-23D83BA3F0E1}" dt="2025-06-15T08:08:56.133" v="983" actId="1076"/>
          <ac:spMkLst>
            <pc:docMk/>
            <pc:sldMk cId="2600007471" sldId="2147479735"/>
            <ac:spMk id="6" creationId="{F997AFA0-099D-9FFD-284A-2714E52B4E4C}"/>
          </ac:spMkLst>
        </pc:spChg>
        <pc:spChg chg="del mod">
          <ac:chgData name="Mats Necker" userId="2d97bddf-6881-4b42-b7ae-84f5465d8fc5" providerId="ADAL" clId="{122C8E03-CE66-4182-ABF4-23D83BA3F0E1}" dt="2025-06-15T08:07:26.387" v="902" actId="478"/>
          <ac:spMkLst>
            <pc:docMk/>
            <pc:sldMk cId="2600007471" sldId="2147479735"/>
            <ac:spMk id="7" creationId="{943DE0C8-67B2-C8B4-8254-593758FCB2A7}"/>
          </ac:spMkLst>
        </pc:spChg>
        <pc:spChg chg="add mod">
          <ac:chgData name="Mats Necker" userId="2d97bddf-6881-4b42-b7ae-84f5465d8fc5" providerId="ADAL" clId="{122C8E03-CE66-4182-ABF4-23D83BA3F0E1}" dt="2025-06-15T08:09:01.404" v="984" actId="1076"/>
          <ac:spMkLst>
            <pc:docMk/>
            <pc:sldMk cId="2600007471" sldId="2147479735"/>
            <ac:spMk id="9" creationId="{2CA1FA7E-376B-692C-3130-C274E76256A8}"/>
          </ac:spMkLst>
        </pc:spChg>
        <pc:picChg chg="mod">
          <ac:chgData name="Mats Necker" userId="2d97bddf-6881-4b42-b7ae-84f5465d8fc5" providerId="ADAL" clId="{122C8E03-CE66-4182-ABF4-23D83BA3F0E1}" dt="2025-06-15T08:08:49.118" v="982" actId="1076"/>
          <ac:picMkLst>
            <pc:docMk/>
            <pc:sldMk cId="2600007471" sldId="2147479735"/>
            <ac:picMk id="8" creationId="{5D9B0343-A2F9-8075-F764-89522BC07F33}"/>
          </ac:picMkLst>
        </pc:picChg>
      </pc:sldChg>
      <pc:sldChg chg="add">
        <pc:chgData name="Mats Necker" userId="2d97bddf-6881-4b42-b7ae-84f5465d8fc5" providerId="ADAL" clId="{122C8E03-CE66-4182-ABF4-23D83BA3F0E1}" dt="2025-06-15T08:09:30.734" v="986"/>
        <pc:sldMkLst>
          <pc:docMk/>
          <pc:sldMk cId="3920909417" sldId="2147483408"/>
        </pc:sldMkLst>
      </pc:sldChg>
      <pc:sldChg chg="addSp delSp modSp new mod modClrScheme chgLayout">
        <pc:chgData name="Mats Necker" userId="2d97bddf-6881-4b42-b7ae-84f5465d8fc5" providerId="ADAL" clId="{122C8E03-CE66-4182-ABF4-23D83BA3F0E1}" dt="2025-06-15T08:38:57.394" v="1116" actId="1076"/>
        <pc:sldMkLst>
          <pc:docMk/>
          <pc:sldMk cId="1201989102" sldId="2147483409"/>
        </pc:sldMkLst>
        <pc:spChg chg="del mod ord">
          <ac:chgData name="Mats Necker" userId="2d97bddf-6881-4b42-b7ae-84f5465d8fc5" providerId="ADAL" clId="{122C8E03-CE66-4182-ABF4-23D83BA3F0E1}" dt="2025-06-15T08:14:02.069" v="993" actId="700"/>
          <ac:spMkLst>
            <pc:docMk/>
            <pc:sldMk cId="1201989102" sldId="2147483409"/>
            <ac:spMk id="2" creationId="{5151ACF0-B795-AB8A-4C44-E1D33A7E350B}"/>
          </ac:spMkLst>
        </pc:spChg>
        <pc:spChg chg="del mod ord">
          <ac:chgData name="Mats Necker" userId="2d97bddf-6881-4b42-b7ae-84f5465d8fc5" providerId="ADAL" clId="{122C8E03-CE66-4182-ABF4-23D83BA3F0E1}" dt="2025-06-15T08:14:02.069" v="993" actId="700"/>
          <ac:spMkLst>
            <pc:docMk/>
            <pc:sldMk cId="1201989102" sldId="2147483409"/>
            <ac:spMk id="3" creationId="{E77F1623-5F58-B357-18E1-1C29E5B9C56C}"/>
          </ac:spMkLst>
        </pc:spChg>
        <pc:spChg chg="mod ord">
          <ac:chgData name="Mats Necker" userId="2d97bddf-6881-4b42-b7ae-84f5465d8fc5" providerId="ADAL" clId="{122C8E03-CE66-4182-ABF4-23D83BA3F0E1}" dt="2025-06-15T08:14:02.069" v="993" actId="700"/>
          <ac:spMkLst>
            <pc:docMk/>
            <pc:sldMk cId="1201989102" sldId="2147483409"/>
            <ac:spMk id="4" creationId="{B6D996ED-B752-90A5-B882-0AFA4F8A5DC2}"/>
          </ac:spMkLst>
        </pc:spChg>
        <pc:spChg chg="mod ord">
          <ac:chgData name="Mats Necker" userId="2d97bddf-6881-4b42-b7ae-84f5465d8fc5" providerId="ADAL" clId="{122C8E03-CE66-4182-ABF4-23D83BA3F0E1}" dt="2025-06-15T08:14:02.069" v="993" actId="700"/>
          <ac:spMkLst>
            <pc:docMk/>
            <pc:sldMk cId="1201989102" sldId="2147483409"/>
            <ac:spMk id="5" creationId="{B4F5918E-CC41-8F4D-9003-7F7A306DE103}"/>
          </ac:spMkLst>
        </pc:spChg>
        <pc:spChg chg="add mod ord">
          <ac:chgData name="Mats Necker" userId="2d97bddf-6881-4b42-b7ae-84f5465d8fc5" providerId="ADAL" clId="{122C8E03-CE66-4182-ABF4-23D83BA3F0E1}" dt="2025-06-15T08:38:57.394" v="1116" actId="1076"/>
          <ac:spMkLst>
            <pc:docMk/>
            <pc:sldMk cId="1201989102" sldId="2147483409"/>
            <ac:spMk id="6" creationId="{42CD23C2-ED69-6025-9BA9-722951B8D861}"/>
          </ac:spMkLst>
        </pc:spChg>
        <pc:spChg chg="add del mod ord">
          <ac:chgData name="Mats Necker" userId="2d97bddf-6881-4b42-b7ae-84f5465d8fc5" providerId="ADAL" clId="{122C8E03-CE66-4182-ABF4-23D83BA3F0E1}" dt="2025-06-15T08:14:20.666" v="995" actId="478"/>
          <ac:spMkLst>
            <pc:docMk/>
            <pc:sldMk cId="1201989102" sldId="2147483409"/>
            <ac:spMk id="7" creationId="{62012500-9966-2439-5337-B95AA0D24A4E}"/>
          </ac:spMkLst>
        </pc:spChg>
      </pc:sldChg>
      <pc:sldChg chg="new del">
        <pc:chgData name="Mats Necker" userId="2d97bddf-6881-4b42-b7ae-84f5465d8fc5" providerId="ADAL" clId="{122C8E03-CE66-4182-ABF4-23D83BA3F0E1}" dt="2025-06-15T08:13:44.621" v="991" actId="47"/>
        <pc:sldMkLst>
          <pc:docMk/>
          <pc:sldMk cId="2588700146" sldId="2147483409"/>
        </pc:sldMkLst>
      </pc:sldChg>
      <pc:sldChg chg="modSp add mod">
        <pc:chgData name="Mats Necker" userId="2d97bddf-6881-4b42-b7ae-84f5465d8fc5" providerId="ADAL" clId="{122C8E03-CE66-4182-ABF4-23D83BA3F0E1}" dt="2025-06-15T08:38:50.737" v="1115" actId="1076"/>
        <pc:sldMkLst>
          <pc:docMk/>
          <pc:sldMk cId="1495896131" sldId="2147483410"/>
        </pc:sldMkLst>
        <pc:spChg chg="mod">
          <ac:chgData name="Mats Necker" userId="2d97bddf-6881-4b42-b7ae-84f5465d8fc5" providerId="ADAL" clId="{122C8E03-CE66-4182-ABF4-23D83BA3F0E1}" dt="2025-06-15T08:38:50.737" v="1115" actId="1076"/>
          <ac:spMkLst>
            <pc:docMk/>
            <pc:sldMk cId="1495896131" sldId="2147483410"/>
            <ac:spMk id="6" creationId="{3F42E1E9-0701-B82D-D81D-AD298357663C}"/>
          </ac:spMkLst>
        </pc:spChg>
      </pc:sldChg>
      <pc:sldChg chg="addSp delSp modSp new mod modClrScheme modAnim chgLayout">
        <pc:chgData name="Mats Necker" userId="2d97bddf-6881-4b42-b7ae-84f5465d8fc5" providerId="ADAL" clId="{122C8E03-CE66-4182-ABF4-23D83BA3F0E1}" dt="2025-06-15T08:38:27.283" v="1112" actId="207"/>
        <pc:sldMkLst>
          <pc:docMk/>
          <pc:sldMk cId="612387131" sldId="2147483411"/>
        </pc:sldMkLst>
        <pc:spChg chg="del">
          <ac:chgData name="Mats Necker" userId="2d97bddf-6881-4b42-b7ae-84f5465d8fc5" providerId="ADAL" clId="{122C8E03-CE66-4182-ABF4-23D83BA3F0E1}" dt="2025-06-15T08:38:16.842" v="1108" actId="700"/>
          <ac:spMkLst>
            <pc:docMk/>
            <pc:sldMk cId="612387131" sldId="2147483411"/>
            <ac:spMk id="2" creationId="{9CA4F29C-A200-CED3-FFE2-D6DAB2C3B477}"/>
          </ac:spMkLst>
        </pc:spChg>
        <pc:spChg chg="del mod ord">
          <ac:chgData name="Mats Necker" userId="2d97bddf-6881-4b42-b7ae-84f5465d8fc5" providerId="ADAL" clId="{122C8E03-CE66-4182-ABF4-23D83BA3F0E1}" dt="2025-06-15T08:38:16.842" v="1108" actId="700"/>
          <ac:spMkLst>
            <pc:docMk/>
            <pc:sldMk cId="612387131" sldId="2147483411"/>
            <ac:spMk id="3" creationId="{56C131A9-117C-A119-CB54-4293A2CB8532}"/>
          </ac:spMkLst>
        </pc:spChg>
        <pc:spChg chg="add del mod ord">
          <ac:chgData name="Mats Necker" userId="2d97bddf-6881-4b42-b7ae-84f5465d8fc5" providerId="ADAL" clId="{122C8E03-CE66-4182-ABF4-23D83BA3F0E1}" dt="2025-06-15T08:38:18.603" v="1109" actId="478"/>
          <ac:spMkLst>
            <pc:docMk/>
            <pc:sldMk cId="612387131" sldId="2147483411"/>
            <ac:spMk id="4" creationId="{C164BD18-1638-DF20-9DD4-44F3776DC815}"/>
          </ac:spMkLst>
        </pc:spChg>
        <pc:spChg chg="add mod">
          <ac:chgData name="Mats Necker" userId="2d97bddf-6881-4b42-b7ae-84f5465d8fc5" providerId="ADAL" clId="{122C8E03-CE66-4182-ABF4-23D83BA3F0E1}" dt="2025-06-15T08:38:27.283" v="1112" actId="207"/>
          <ac:spMkLst>
            <pc:docMk/>
            <pc:sldMk cId="612387131" sldId="2147483411"/>
            <ac:spMk id="7" creationId="{CB4CCACD-0A15-2108-57AE-067755F4001A}"/>
          </ac:spMkLst>
        </pc:spChg>
        <pc:picChg chg="add mod">
          <ac:chgData name="Mats Necker" userId="2d97bddf-6881-4b42-b7ae-84f5465d8fc5" providerId="ADAL" clId="{122C8E03-CE66-4182-ABF4-23D83BA3F0E1}" dt="2025-06-15T08:38:22.711" v="1111" actId="1076"/>
          <ac:picMkLst>
            <pc:docMk/>
            <pc:sldMk cId="612387131" sldId="2147483411"/>
            <ac:picMk id="5" creationId="{847DA5FF-B319-9AF4-A44B-6A2AD2DDD304}"/>
          </ac:picMkLst>
        </pc:picChg>
        <pc:picChg chg="add mod">
          <ac:chgData name="Mats Necker" userId="2d97bddf-6881-4b42-b7ae-84f5465d8fc5" providerId="ADAL" clId="{122C8E03-CE66-4182-ABF4-23D83BA3F0E1}" dt="2025-06-15T08:38:22.711" v="1111" actId="1076"/>
          <ac:picMkLst>
            <pc:docMk/>
            <pc:sldMk cId="612387131" sldId="2147483411"/>
            <ac:picMk id="6" creationId="{72F9CBA5-8D51-D1D3-FC2D-0ADFA5F14A81}"/>
          </ac:picMkLst>
        </pc:picChg>
      </pc:sldChg>
      <pc:sldChg chg="addSp delSp modSp new del mod modClrScheme chgLayout">
        <pc:chgData name="Mats Necker" userId="2d97bddf-6881-4b42-b7ae-84f5465d8fc5" providerId="ADAL" clId="{122C8E03-CE66-4182-ABF4-23D83BA3F0E1}" dt="2025-06-15T08:39:09.004" v="1118" actId="47"/>
        <pc:sldMkLst>
          <pc:docMk/>
          <pc:sldMk cId="1060793444" sldId="2147483412"/>
        </pc:sldMkLst>
        <pc:spChg chg="del mod ord">
          <ac:chgData name="Mats Necker" userId="2d97bddf-6881-4b42-b7ae-84f5465d8fc5" providerId="ADAL" clId="{122C8E03-CE66-4182-ABF4-23D83BA3F0E1}" dt="2025-06-15T08:38:42.607" v="1114" actId="700"/>
          <ac:spMkLst>
            <pc:docMk/>
            <pc:sldMk cId="1060793444" sldId="2147483412"/>
            <ac:spMk id="2" creationId="{AD42B9CD-4C15-9DCC-244E-61535FBF178C}"/>
          </ac:spMkLst>
        </pc:spChg>
        <pc:spChg chg="del mod ord">
          <ac:chgData name="Mats Necker" userId="2d97bddf-6881-4b42-b7ae-84f5465d8fc5" providerId="ADAL" clId="{122C8E03-CE66-4182-ABF4-23D83BA3F0E1}" dt="2025-06-15T08:38:42.607" v="1114" actId="700"/>
          <ac:spMkLst>
            <pc:docMk/>
            <pc:sldMk cId="1060793444" sldId="2147483412"/>
            <ac:spMk id="3" creationId="{EBF0935D-A051-EDA6-72F5-7E7F8E89EF51}"/>
          </ac:spMkLst>
        </pc:spChg>
        <pc:spChg chg="add mod ord">
          <ac:chgData name="Mats Necker" userId="2d97bddf-6881-4b42-b7ae-84f5465d8fc5" providerId="ADAL" clId="{122C8E03-CE66-4182-ABF4-23D83BA3F0E1}" dt="2025-06-15T08:38:42.607" v="1114" actId="700"/>
          <ac:spMkLst>
            <pc:docMk/>
            <pc:sldMk cId="1060793444" sldId="2147483412"/>
            <ac:spMk id="4" creationId="{93382E58-4E6F-7343-8C22-436EAAC28396}"/>
          </ac:spMkLst>
        </pc:spChg>
        <pc:spChg chg="add mod ord">
          <ac:chgData name="Mats Necker" userId="2d97bddf-6881-4b42-b7ae-84f5465d8fc5" providerId="ADAL" clId="{122C8E03-CE66-4182-ABF4-23D83BA3F0E1}" dt="2025-06-15T08:38:42.607" v="1114" actId="700"/>
          <ac:spMkLst>
            <pc:docMk/>
            <pc:sldMk cId="1060793444" sldId="2147483412"/>
            <ac:spMk id="5" creationId="{544913E1-0733-6459-05DD-B16580371857}"/>
          </ac:spMkLst>
        </pc:spChg>
      </pc:sldChg>
      <pc:sldChg chg="modSp add mod">
        <pc:chgData name="Mats Necker" userId="2d97bddf-6881-4b42-b7ae-84f5465d8fc5" providerId="ADAL" clId="{122C8E03-CE66-4182-ABF4-23D83BA3F0E1}" dt="2025-06-15T08:39:25.426" v="1145" actId="20577"/>
        <pc:sldMkLst>
          <pc:docMk/>
          <pc:sldMk cId="3307567147" sldId="2147483413"/>
        </pc:sldMkLst>
        <pc:spChg chg="mod">
          <ac:chgData name="Mats Necker" userId="2d97bddf-6881-4b42-b7ae-84f5465d8fc5" providerId="ADAL" clId="{122C8E03-CE66-4182-ABF4-23D83BA3F0E1}" dt="2025-06-15T08:39:25.426" v="1145" actId="20577"/>
          <ac:spMkLst>
            <pc:docMk/>
            <pc:sldMk cId="3307567147" sldId="2147483413"/>
            <ac:spMk id="6" creationId="{8AE96657-F593-1B66-7721-2B4A57CA0F31}"/>
          </ac:spMkLst>
        </pc:spChg>
      </pc:sldChg>
      <pc:sldMasterChg chg="delSldLayout">
        <pc:chgData name="Mats Necker" userId="2d97bddf-6881-4b42-b7ae-84f5465d8fc5" providerId="ADAL" clId="{122C8E03-CE66-4182-ABF4-23D83BA3F0E1}" dt="2025-06-15T08:17:26.033" v="1048" actId="47"/>
        <pc:sldMasterMkLst>
          <pc:docMk/>
          <pc:sldMasterMk cId="1758291486" sldId="2147483682"/>
        </pc:sldMasterMkLst>
        <pc:sldLayoutChg chg="del">
          <pc:chgData name="Mats Necker" userId="2d97bddf-6881-4b42-b7ae-84f5465d8fc5" providerId="ADAL" clId="{122C8E03-CE66-4182-ABF4-23D83BA3F0E1}" dt="2025-06-15T08:05:39.171" v="871" actId="47"/>
          <pc:sldLayoutMkLst>
            <pc:docMk/>
            <pc:sldMasterMk cId="1758291486" sldId="2147483682"/>
            <pc:sldLayoutMk cId="445740192" sldId="2147483695"/>
          </pc:sldLayoutMkLst>
        </pc:sldLayoutChg>
        <pc:sldLayoutChg chg="del">
          <pc:chgData name="Mats Necker" userId="2d97bddf-6881-4b42-b7ae-84f5465d8fc5" providerId="ADAL" clId="{122C8E03-CE66-4182-ABF4-23D83BA3F0E1}" dt="2025-06-15T08:15:38.077" v="1014" actId="47"/>
          <pc:sldLayoutMkLst>
            <pc:docMk/>
            <pc:sldMasterMk cId="1758291486" sldId="2147483682"/>
            <pc:sldLayoutMk cId="889265648" sldId="2147483743"/>
          </pc:sldLayoutMkLst>
        </pc:sldLayoutChg>
        <pc:sldLayoutChg chg="del">
          <pc:chgData name="Mats Necker" userId="2d97bddf-6881-4b42-b7ae-84f5465d8fc5" providerId="ADAL" clId="{122C8E03-CE66-4182-ABF4-23D83BA3F0E1}" dt="2025-06-15T08:15:13.364" v="1012" actId="47"/>
          <pc:sldLayoutMkLst>
            <pc:docMk/>
            <pc:sldMasterMk cId="1758291486" sldId="2147483682"/>
            <pc:sldLayoutMk cId="1720609994" sldId="2147483744"/>
          </pc:sldLayoutMkLst>
        </pc:sldLayoutChg>
        <pc:sldLayoutChg chg="del">
          <pc:chgData name="Mats Necker" userId="2d97bddf-6881-4b42-b7ae-84f5465d8fc5" providerId="ADAL" clId="{122C8E03-CE66-4182-ABF4-23D83BA3F0E1}" dt="2025-06-15T08:15:51.917" v="1016" actId="47"/>
          <pc:sldLayoutMkLst>
            <pc:docMk/>
            <pc:sldMasterMk cId="1758291486" sldId="2147483682"/>
            <pc:sldLayoutMk cId="2655542999" sldId="2147483777"/>
          </pc:sldLayoutMkLst>
        </pc:sldLayoutChg>
        <pc:sldLayoutChg chg="del">
          <pc:chgData name="Mats Necker" userId="2d97bddf-6881-4b42-b7ae-84f5465d8fc5" providerId="ADAL" clId="{122C8E03-CE66-4182-ABF4-23D83BA3F0E1}" dt="2025-06-15T08:15:55.844" v="1018" actId="47"/>
          <pc:sldLayoutMkLst>
            <pc:docMk/>
            <pc:sldMasterMk cId="1758291486" sldId="2147483682"/>
            <pc:sldLayoutMk cId="4246016982" sldId="2147483777"/>
          </pc:sldLayoutMkLst>
        </pc:sldLayoutChg>
        <pc:sldLayoutChg chg="del">
          <pc:chgData name="Mats Necker" userId="2d97bddf-6881-4b42-b7ae-84f5465d8fc5" providerId="ADAL" clId="{122C8E03-CE66-4182-ABF4-23D83BA3F0E1}" dt="2025-06-15T08:17:26.033" v="1048" actId="47"/>
          <pc:sldLayoutMkLst>
            <pc:docMk/>
            <pc:sldMasterMk cId="1758291486" sldId="2147483682"/>
            <pc:sldLayoutMk cId="1534492414" sldId="2147483856"/>
          </pc:sldLayoutMkLst>
        </pc:sldLayoutChg>
      </pc:sldMasterChg>
      <pc:sldMasterChg chg="delSp mod">
        <pc:chgData name="Mats Necker" userId="2d97bddf-6881-4b42-b7ae-84f5465d8fc5" providerId="ADAL" clId="{122C8E03-CE66-4182-ABF4-23D83BA3F0E1}" dt="2025-06-15T08:13:28.042" v="990" actId="478"/>
        <pc:sldMasterMkLst>
          <pc:docMk/>
          <pc:sldMasterMk cId="1154755535" sldId="2147483712"/>
        </pc:sldMasterMkLst>
        <pc:picChg chg="del">
          <ac:chgData name="Mats Necker" userId="2d97bddf-6881-4b42-b7ae-84f5465d8fc5" providerId="ADAL" clId="{122C8E03-CE66-4182-ABF4-23D83BA3F0E1}" dt="2025-06-15T08:13:28.042" v="990" actId="478"/>
          <ac:picMkLst>
            <pc:docMk/>
            <pc:sldMasterMk cId="1154755535" sldId="2147483712"/>
            <ac:picMk id="8" creationId="{41FAD7B9-0647-66AE-65A9-2378A8242767}"/>
          </ac:picMkLst>
        </pc:picChg>
      </pc:sldMasterChg>
      <pc:sldMasterChg chg="delSp mod">
        <pc:chgData name="Mats Necker" userId="2d97bddf-6881-4b42-b7ae-84f5465d8fc5" providerId="ADAL" clId="{122C8E03-CE66-4182-ABF4-23D83BA3F0E1}" dt="2025-06-15T08:40:53.659" v="1153" actId="478"/>
        <pc:sldMasterMkLst>
          <pc:docMk/>
          <pc:sldMasterMk cId="1274101997" sldId="2147483746"/>
        </pc:sldMasterMkLst>
        <pc:picChg chg="del">
          <ac:chgData name="Mats Necker" userId="2d97bddf-6881-4b42-b7ae-84f5465d8fc5" providerId="ADAL" clId="{122C8E03-CE66-4182-ABF4-23D83BA3F0E1}" dt="2025-06-15T08:40:53.659" v="1153" actId="478"/>
          <ac:picMkLst>
            <pc:docMk/>
            <pc:sldMasterMk cId="1274101997" sldId="2147483746"/>
            <ac:picMk id="8" creationId="{41FAD7B9-0647-66AE-65A9-2378A8242767}"/>
          </ac:picMkLst>
        </pc:picChg>
      </pc:sldMasterChg>
    </pc:docChg>
  </pc:docChgLst>
  <pc:docChgLst>
    <pc:chgData name="Ray Glasheen" userId="c67fd889-8470-4165-8569-8911e7ff9a0a" providerId="ADAL" clId="{F5FF407E-AE47-D14E-B133-C962974E81D2}"/>
    <pc:docChg chg="modSld modMainMaster">
      <pc:chgData name="Ray Glasheen" userId="c67fd889-8470-4165-8569-8911e7ff9a0a" providerId="ADAL" clId="{F5FF407E-AE47-D14E-B133-C962974E81D2}" dt="2024-05-01T13:17:37.114" v="0" actId="18331"/>
      <pc:docMkLst>
        <pc:docMk/>
      </pc:docMkLst>
      <pc:sldChg chg="setBg">
        <pc:chgData name="Ray Glasheen" userId="c67fd889-8470-4165-8569-8911e7ff9a0a" providerId="ADAL" clId="{F5FF407E-AE47-D14E-B133-C962974E81D2}" dt="2024-05-01T13:17:37.114" v="0" actId="18331"/>
        <pc:sldMkLst>
          <pc:docMk/>
          <pc:sldMk cId="3080557386" sldId="256"/>
        </pc:sldMkLst>
      </pc:sldChg>
      <pc:sldChg chg="setBg">
        <pc:chgData name="Ray Glasheen" userId="c67fd889-8470-4165-8569-8911e7ff9a0a" providerId="ADAL" clId="{F5FF407E-AE47-D14E-B133-C962974E81D2}" dt="2024-05-01T13:17:37.114" v="0" actId="18331"/>
        <pc:sldMkLst>
          <pc:docMk/>
          <pc:sldMk cId="350046711" sldId="258"/>
        </pc:sldMkLst>
      </pc:sldChg>
      <pc:sldChg chg="setBg">
        <pc:chgData name="Ray Glasheen" userId="c67fd889-8470-4165-8569-8911e7ff9a0a" providerId="ADAL" clId="{F5FF407E-AE47-D14E-B133-C962974E81D2}" dt="2024-05-01T13:17:37.114" v="0" actId="18331"/>
        <pc:sldMkLst>
          <pc:docMk/>
          <pc:sldMk cId="1474078492" sldId="261"/>
        </pc:sldMkLst>
      </pc:sldChg>
      <pc:sldChg chg="setBg">
        <pc:chgData name="Ray Glasheen" userId="c67fd889-8470-4165-8569-8911e7ff9a0a" providerId="ADAL" clId="{F5FF407E-AE47-D14E-B133-C962974E81D2}" dt="2024-05-01T13:17:37.114" v="0" actId="18331"/>
        <pc:sldMkLst>
          <pc:docMk/>
          <pc:sldMk cId="1157289511" sldId="262"/>
        </pc:sldMkLst>
      </pc:sldChg>
      <pc:sldChg chg="setBg">
        <pc:chgData name="Ray Glasheen" userId="c67fd889-8470-4165-8569-8911e7ff9a0a" providerId="ADAL" clId="{F5FF407E-AE47-D14E-B133-C962974E81D2}" dt="2024-05-01T13:17:37.114" v="0" actId="18331"/>
        <pc:sldMkLst>
          <pc:docMk/>
          <pc:sldMk cId="3326974690" sldId="263"/>
        </pc:sldMkLst>
      </pc:sldChg>
      <pc:sldChg chg="setBg">
        <pc:chgData name="Ray Glasheen" userId="c67fd889-8470-4165-8569-8911e7ff9a0a" providerId="ADAL" clId="{F5FF407E-AE47-D14E-B133-C962974E81D2}" dt="2024-05-01T13:17:37.114" v="0" actId="18331"/>
        <pc:sldMkLst>
          <pc:docMk/>
          <pc:sldMk cId="3577289732" sldId="264"/>
        </pc:sldMkLst>
      </pc:sldChg>
      <pc:sldChg chg="setBg">
        <pc:chgData name="Ray Glasheen" userId="c67fd889-8470-4165-8569-8911e7ff9a0a" providerId="ADAL" clId="{F5FF407E-AE47-D14E-B133-C962974E81D2}" dt="2024-05-01T13:17:37.114" v="0" actId="18331"/>
        <pc:sldMkLst>
          <pc:docMk/>
          <pc:sldMk cId="2735981974" sldId="265"/>
        </pc:sldMkLst>
      </pc:sldChg>
      <pc:sldChg chg="setBg">
        <pc:chgData name="Ray Glasheen" userId="c67fd889-8470-4165-8569-8911e7ff9a0a" providerId="ADAL" clId="{F5FF407E-AE47-D14E-B133-C962974E81D2}" dt="2024-05-01T13:17:37.114" v="0" actId="18331"/>
        <pc:sldMkLst>
          <pc:docMk/>
          <pc:sldMk cId="998035033" sldId="266"/>
        </pc:sldMkLst>
      </pc:sldChg>
      <pc:sldChg chg="setBg">
        <pc:chgData name="Ray Glasheen" userId="c67fd889-8470-4165-8569-8911e7ff9a0a" providerId="ADAL" clId="{F5FF407E-AE47-D14E-B133-C962974E81D2}" dt="2024-05-01T13:17:37.114" v="0" actId="18331"/>
        <pc:sldMkLst>
          <pc:docMk/>
          <pc:sldMk cId="391276983" sldId="267"/>
        </pc:sldMkLst>
      </pc:sldChg>
      <pc:sldChg chg="setBg">
        <pc:chgData name="Ray Glasheen" userId="c67fd889-8470-4165-8569-8911e7ff9a0a" providerId="ADAL" clId="{F5FF407E-AE47-D14E-B133-C962974E81D2}" dt="2024-05-01T13:17:37.114" v="0" actId="18331"/>
        <pc:sldMkLst>
          <pc:docMk/>
          <pc:sldMk cId="1510906715" sldId="268"/>
        </pc:sldMkLst>
      </pc:sldChg>
      <pc:sldChg chg="setBg">
        <pc:chgData name="Ray Glasheen" userId="c67fd889-8470-4165-8569-8911e7ff9a0a" providerId="ADAL" clId="{F5FF407E-AE47-D14E-B133-C962974E81D2}" dt="2024-05-01T13:17:37.114" v="0" actId="18331"/>
        <pc:sldMkLst>
          <pc:docMk/>
          <pc:sldMk cId="2444015328" sldId="269"/>
        </pc:sldMkLst>
      </pc:sldChg>
      <pc:sldChg chg="setBg">
        <pc:chgData name="Ray Glasheen" userId="c67fd889-8470-4165-8569-8911e7ff9a0a" providerId="ADAL" clId="{F5FF407E-AE47-D14E-B133-C962974E81D2}" dt="2024-05-01T13:17:37.114" v="0" actId="18331"/>
        <pc:sldMkLst>
          <pc:docMk/>
          <pc:sldMk cId="656950007" sldId="270"/>
        </pc:sldMkLst>
      </pc:sldChg>
      <pc:sldChg chg="setBg">
        <pc:chgData name="Ray Glasheen" userId="c67fd889-8470-4165-8569-8911e7ff9a0a" providerId="ADAL" clId="{F5FF407E-AE47-D14E-B133-C962974E81D2}" dt="2024-05-01T13:17:37.114" v="0" actId="18331"/>
        <pc:sldMkLst>
          <pc:docMk/>
          <pc:sldMk cId="3898693924" sldId="271"/>
        </pc:sldMkLst>
      </pc:sldChg>
      <pc:sldChg chg="setBg">
        <pc:chgData name="Ray Glasheen" userId="c67fd889-8470-4165-8569-8911e7ff9a0a" providerId="ADAL" clId="{F5FF407E-AE47-D14E-B133-C962974E81D2}" dt="2024-05-01T13:17:37.114" v="0" actId="18331"/>
        <pc:sldMkLst>
          <pc:docMk/>
          <pc:sldMk cId="1436824444" sldId="272"/>
        </pc:sldMkLst>
      </pc:sldChg>
      <pc:sldMasterChg chg="setBg">
        <pc:chgData name="Ray Glasheen" userId="c67fd889-8470-4165-8569-8911e7ff9a0a" providerId="ADAL" clId="{F5FF407E-AE47-D14E-B133-C962974E81D2}" dt="2024-05-01T13:17:37.114" v="0" actId="18331"/>
        <pc:sldMasterMkLst>
          <pc:docMk/>
          <pc:sldMasterMk cId="2281765972" sldId="2147483678"/>
        </pc:sldMasterMkLst>
      </pc:sldMasterChg>
      <pc:sldMasterChg chg="setBg">
        <pc:chgData name="Ray Glasheen" userId="c67fd889-8470-4165-8569-8911e7ff9a0a" providerId="ADAL" clId="{F5FF407E-AE47-D14E-B133-C962974E81D2}" dt="2024-05-01T13:17:37.114" v="0" actId="18331"/>
        <pc:sldMasterMkLst>
          <pc:docMk/>
          <pc:sldMasterMk cId="4189170703" sldId="2147483680"/>
        </pc:sldMasterMkLst>
      </pc:sldMasterChg>
      <pc:sldMasterChg chg="setBg modSldLayout">
        <pc:chgData name="Ray Glasheen" userId="c67fd889-8470-4165-8569-8911e7ff9a0a" providerId="ADAL" clId="{F5FF407E-AE47-D14E-B133-C962974E81D2}" dt="2024-05-01T13:17:37.114" v="0" actId="18331"/>
        <pc:sldMasterMkLst>
          <pc:docMk/>
          <pc:sldMasterMk cId="1758291486" sldId="2147483682"/>
        </pc:sldMasterMkLst>
        <pc:sldLayoutChg chg="setBg">
          <pc:chgData name="Ray Glasheen" userId="c67fd889-8470-4165-8569-8911e7ff9a0a" providerId="ADAL" clId="{F5FF407E-AE47-D14E-B133-C962974E81D2}" dt="2024-05-01T13:17:37.114" v="0" actId="18331"/>
          <pc:sldLayoutMkLst>
            <pc:docMk/>
            <pc:sldMasterMk cId="1758291486" sldId="2147483682"/>
            <pc:sldLayoutMk cId="1865159803" sldId="2147483692"/>
          </pc:sldLayoutMkLst>
        </pc:sldLayoutChg>
        <pc:sldLayoutChg chg="setBg">
          <pc:chgData name="Ray Glasheen" userId="c67fd889-8470-4165-8569-8911e7ff9a0a" providerId="ADAL" clId="{F5FF407E-AE47-D14E-B133-C962974E81D2}" dt="2024-05-01T13:17:37.114" v="0" actId="18331"/>
          <pc:sldLayoutMkLst>
            <pc:docMk/>
            <pc:sldMasterMk cId="1758291486" sldId="2147483682"/>
            <pc:sldLayoutMk cId="4070593789" sldId="2147483693"/>
          </pc:sldLayoutMkLst>
        </pc:sldLayoutChg>
        <pc:sldLayoutChg chg="setBg">
          <pc:chgData name="Ray Glasheen" userId="c67fd889-8470-4165-8569-8911e7ff9a0a" providerId="ADAL" clId="{F5FF407E-AE47-D14E-B133-C962974E81D2}" dt="2024-05-01T13:17:37.114" v="0" actId="18331"/>
          <pc:sldLayoutMkLst>
            <pc:docMk/>
            <pc:sldMasterMk cId="1758291486" sldId="2147483682"/>
            <pc:sldLayoutMk cId="1038442111" sldId="2147483694"/>
          </pc:sldLayoutMkLst>
        </pc:sldLayoutChg>
      </pc:sldMasterChg>
      <pc:sldMasterChg chg="setBg">
        <pc:chgData name="Ray Glasheen" userId="c67fd889-8470-4165-8569-8911e7ff9a0a" providerId="ADAL" clId="{F5FF407E-AE47-D14E-B133-C962974E81D2}" dt="2024-05-01T13:17:37.114" v="0" actId="18331"/>
        <pc:sldMasterMkLst>
          <pc:docMk/>
          <pc:sldMasterMk cId="102519618" sldId="2147483684"/>
        </pc:sldMasterMkLst>
      </pc:sldMasterChg>
    </pc:docChg>
  </pc:docChgLst>
  <pc:docChgLst>
    <pc:chgData name="Mats Necker" userId="2d97bddf-6881-4b42-b7ae-84f5465d8fc5" providerId="ADAL" clId="{AA2D46BA-CB26-4EA5-9AC8-46E2340DA825}"/>
    <pc:docChg chg="undo custSel addSld delSld modSld sldOrd delMainMaster modMainMaster">
      <pc:chgData name="Mats Necker" userId="2d97bddf-6881-4b42-b7ae-84f5465d8fc5" providerId="ADAL" clId="{AA2D46BA-CB26-4EA5-9AC8-46E2340DA825}" dt="2025-06-15T12:18:16.355" v="728" actId="478"/>
      <pc:docMkLst>
        <pc:docMk/>
      </pc:docMkLst>
      <pc:sldChg chg="del">
        <pc:chgData name="Mats Necker" userId="2d97bddf-6881-4b42-b7ae-84f5465d8fc5" providerId="ADAL" clId="{AA2D46BA-CB26-4EA5-9AC8-46E2340DA825}" dt="2025-06-15T10:24:00.989" v="179" actId="47"/>
        <pc:sldMkLst>
          <pc:docMk/>
          <pc:sldMk cId="391276983" sldId="267"/>
        </pc:sldMkLst>
      </pc:sldChg>
      <pc:sldChg chg="del">
        <pc:chgData name="Mats Necker" userId="2d97bddf-6881-4b42-b7ae-84f5465d8fc5" providerId="ADAL" clId="{AA2D46BA-CB26-4EA5-9AC8-46E2340DA825}" dt="2025-06-15T10:50:34.131" v="493" actId="47"/>
        <pc:sldMkLst>
          <pc:docMk/>
          <pc:sldMk cId="1510906715" sldId="268"/>
        </pc:sldMkLst>
      </pc:sldChg>
      <pc:sldChg chg="addSp delSp modSp add mod modClrScheme chgLayout">
        <pc:chgData name="Mats Necker" userId="2d97bddf-6881-4b42-b7ae-84f5465d8fc5" providerId="ADAL" clId="{AA2D46BA-CB26-4EA5-9AC8-46E2340DA825}" dt="2025-06-15T12:05:30.324" v="647" actId="20577"/>
        <pc:sldMkLst>
          <pc:docMk/>
          <pc:sldMk cId="2792437428" sldId="272"/>
        </pc:sldMkLst>
        <pc:spChg chg="add del mod ord">
          <ac:chgData name="Mats Necker" userId="2d97bddf-6881-4b42-b7ae-84f5465d8fc5" providerId="ADAL" clId="{AA2D46BA-CB26-4EA5-9AC8-46E2340DA825}" dt="2025-06-15T12:04:59.753" v="634" actId="478"/>
          <ac:spMkLst>
            <pc:docMk/>
            <pc:sldMk cId="2792437428" sldId="272"/>
            <ac:spMk id="2" creationId="{E62AE4C8-576D-81E3-4697-AFA72C513EB4}"/>
          </ac:spMkLst>
        </pc:spChg>
        <pc:spChg chg="mod ord">
          <ac:chgData name="Mats Necker" userId="2d97bddf-6881-4b42-b7ae-84f5465d8fc5" providerId="ADAL" clId="{AA2D46BA-CB26-4EA5-9AC8-46E2340DA825}" dt="2025-06-15T12:05:30.324" v="647" actId="20577"/>
          <ac:spMkLst>
            <pc:docMk/>
            <pc:sldMk cId="2792437428" sldId="272"/>
            <ac:spMk id="3" creationId="{00000000-0000-0000-0000-000000000000}"/>
          </ac:spMkLst>
        </pc:spChg>
        <pc:graphicFrameChg chg="mod ord">
          <ac:chgData name="Mats Necker" userId="2d97bddf-6881-4b42-b7ae-84f5465d8fc5" providerId="ADAL" clId="{AA2D46BA-CB26-4EA5-9AC8-46E2340DA825}" dt="2025-06-15T12:05:22.410" v="637" actId="1076"/>
          <ac:graphicFrameMkLst>
            <pc:docMk/>
            <pc:sldMk cId="2792437428" sldId="272"/>
            <ac:graphicFrameMk id="27" creationId="{22FC70E7-3951-456E-9504-4C9CD36FF99D}"/>
          </ac:graphicFrameMkLst>
        </pc:graphicFrameChg>
      </pc:sldChg>
      <pc:sldChg chg="del">
        <pc:chgData name="Mats Necker" userId="2d97bddf-6881-4b42-b7ae-84f5465d8fc5" providerId="ADAL" clId="{AA2D46BA-CB26-4EA5-9AC8-46E2340DA825}" dt="2025-06-15T10:24:01.499" v="180" actId="47"/>
        <pc:sldMkLst>
          <pc:docMk/>
          <pc:sldMk cId="4018254821" sldId="272"/>
        </pc:sldMkLst>
      </pc:sldChg>
      <pc:sldChg chg="modSp add mod modClrScheme chgLayout">
        <pc:chgData name="Mats Necker" userId="2d97bddf-6881-4b42-b7ae-84f5465d8fc5" providerId="ADAL" clId="{AA2D46BA-CB26-4EA5-9AC8-46E2340DA825}" dt="2025-06-15T12:04:10.012" v="627" actId="20577"/>
        <pc:sldMkLst>
          <pc:docMk/>
          <pc:sldMk cId="3374304043" sldId="279"/>
        </pc:sldMkLst>
        <pc:spChg chg="mod ord">
          <ac:chgData name="Mats Necker" userId="2d97bddf-6881-4b42-b7ae-84f5465d8fc5" providerId="ADAL" clId="{AA2D46BA-CB26-4EA5-9AC8-46E2340DA825}" dt="2025-06-15T12:03:32.225" v="598" actId="700"/>
          <ac:spMkLst>
            <pc:docMk/>
            <pc:sldMk cId="3374304043" sldId="279"/>
            <ac:spMk id="3" creationId="{5E17B313-DD2F-8516-7AF3-2A29A565390B}"/>
          </ac:spMkLst>
        </pc:spChg>
        <pc:spChg chg="mod ord">
          <ac:chgData name="Mats Necker" userId="2d97bddf-6881-4b42-b7ae-84f5465d8fc5" providerId="ADAL" clId="{AA2D46BA-CB26-4EA5-9AC8-46E2340DA825}" dt="2025-06-15T12:04:10.012" v="627" actId="20577"/>
          <ac:spMkLst>
            <pc:docMk/>
            <pc:sldMk cId="3374304043" sldId="279"/>
            <ac:spMk id="4" creationId="{DA4BDD07-08FD-99D4-BEC6-6808B332CD8D}"/>
          </ac:spMkLst>
        </pc:spChg>
      </pc:sldChg>
      <pc:sldChg chg="modSp add mod modClrScheme chgLayout">
        <pc:chgData name="Mats Necker" userId="2d97bddf-6881-4b42-b7ae-84f5465d8fc5" providerId="ADAL" clId="{AA2D46BA-CB26-4EA5-9AC8-46E2340DA825}" dt="2025-06-15T12:04:02.656" v="614" actId="5793"/>
        <pc:sldMkLst>
          <pc:docMk/>
          <pc:sldMk cId="1554777036" sldId="283"/>
        </pc:sldMkLst>
        <pc:spChg chg="mod ord">
          <ac:chgData name="Mats Necker" userId="2d97bddf-6881-4b42-b7ae-84f5465d8fc5" providerId="ADAL" clId="{AA2D46BA-CB26-4EA5-9AC8-46E2340DA825}" dt="2025-06-15T12:03:54.152" v="612" actId="700"/>
          <ac:spMkLst>
            <pc:docMk/>
            <pc:sldMk cId="1554777036" sldId="283"/>
            <ac:spMk id="3" creationId="{5E17B313-DD2F-8516-7AF3-2A29A565390B}"/>
          </ac:spMkLst>
        </pc:spChg>
        <pc:spChg chg="mod ord">
          <ac:chgData name="Mats Necker" userId="2d97bddf-6881-4b42-b7ae-84f5465d8fc5" providerId="ADAL" clId="{AA2D46BA-CB26-4EA5-9AC8-46E2340DA825}" dt="2025-06-15T12:04:02.656" v="614" actId="5793"/>
          <ac:spMkLst>
            <pc:docMk/>
            <pc:sldMk cId="1554777036" sldId="283"/>
            <ac:spMk id="4" creationId="{DA4BDD07-08FD-99D4-BEC6-6808B332CD8D}"/>
          </ac:spMkLst>
        </pc:spChg>
      </pc:sldChg>
      <pc:sldChg chg="modSp add mod">
        <pc:chgData name="Mats Necker" userId="2d97bddf-6881-4b42-b7ae-84f5465d8fc5" providerId="ADAL" clId="{AA2D46BA-CB26-4EA5-9AC8-46E2340DA825}" dt="2025-06-15T11:53:13.526" v="562" actId="208"/>
        <pc:sldMkLst>
          <pc:docMk/>
          <pc:sldMk cId="1450665052" sldId="353"/>
        </pc:sldMkLst>
        <pc:spChg chg="mod">
          <ac:chgData name="Mats Necker" userId="2d97bddf-6881-4b42-b7ae-84f5465d8fc5" providerId="ADAL" clId="{AA2D46BA-CB26-4EA5-9AC8-46E2340DA825}" dt="2025-06-15T11:53:01.030" v="559" actId="207"/>
          <ac:spMkLst>
            <pc:docMk/>
            <pc:sldMk cId="1450665052" sldId="353"/>
            <ac:spMk id="2" creationId="{48CDBFC6-83F7-C747-531D-0E865C80443C}"/>
          </ac:spMkLst>
        </pc:spChg>
        <pc:cxnChg chg="mod">
          <ac:chgData name="Mats Necker" userId="2d97bddf-6881-4b42-b7ae-84f5465d8fc5" providerId="ADAL" clId="{AA2D46BA-CB26-4EA5-9AC8-46E2340DA825}" dt="2025-06-15T11:53:07.913" v="560" actId="208"/>
          <ac:cxnSpMkLst>
            <pc:docMk/>
            <pc:sldMk cId="1450665052" sldId="353"/>
            <ac:cxnSpMk id="18" creationId="{611C2F23-A5B6-A56B-AA6D-2BAA917BBA89}"/>
          </ac:cxnSpMkLst>
        </pc:cxnChg>
        <pc:cxnChg chg="mod">
          <ac:chgData name="Mats Necker" userId="2d97bddf-6881-4b42-b7ae-84f5465d8fc5" providerId="ADAL" clId="{AA2D46BA-CB26-4EA5-9AC8-46E2340DA825}" dt="2025-06-15T11:53:10.048" v="561" actId="208"/>
          <ac:cxnSpMkLst>
            <pc:docMk/>
            <pc:sldMk cId="1450665052" sldId="353"/>
            <ac:cxnSpMk id="19" creationId="{4BEBE19C-5A5D-970D-C069-5FB576176354}"/>
          </ac:cxnSpMkLst>
        </pc:cxnChg>
        <pc:cxnChg chg="mod">
          <ac:chgData name="Mats Necker" userId="2d97bddf-6881-4b42-b7ae-84f5465d8fc5" providerId="ADAL" clId="{AA2D46BA-CB26-4EA5-9AC8-46E2340DA825}" dt="2025-06-15T11:53:13.526" v="562" actId="208"/>
          <ac:cxnSpMkLst>
            <pc:docMk/>
            <pc:sldMk cId="1450665052" sldId="353"/>
            <ac:cxnSpMk id="22" creationId="{4B40FCFE-6B98-A39C-9617-3512CAE83F06}"/>
          </ac:cxnSpMkLst>
        </pc:cxnChg>
      </pc:sldChg>
      <pc:sldChg chg="modSp add mod">
        <pc:chgData name="Mats Necker" userId="2d97bddf-6881-4b42-b7ae-84f5465d8fc5" providerId="ADAL" clId="{AA2D46BA-CB26-4EA5-9AC8-46E2340DA825}" dt="2025-06-15T11:53:30.342" v="566" actId="208"/>
        <pc:sldMkLst>
          <pc:docMk/>
          <pc:sldMk cId="3133064453" sldId="354"/>
        </pc:sldMkLst>
        <pc:spChg chg="mod">
          <ac:chgData name="Mats Necker" userId="2d97bddf-6881-4b42-b7ae-84f5465d8fc5" providerId="ADAL" clId="{AA2D46BA-CB26-4EA5-9AC8-46E2340DA825}" dt="2025-06-15T11:53:22.241" v="563" actId="207"/>
          <ac:spMkLst>
            <pc:docMk/>
            <pc:sldMk cId="3133064453" sldId="354"/>
            <ac:spMk id="3" creationId="{11A983C9-4CB1-004B-1CFA-899E20AF3B1A}"/>
          </ac:spMkLst>
        </pc:spChg>
        <pc:cxnChg chg="mod">
          <ac:chgData name="Mats Necker" userId="2d97bddf-6881-4b42-b7ae-84f5465d8fc5" providerId="ADAL" clId="{AA2D46BA-CB26-4EA5-9AC8-46E2340DA825}" dt="2025-06-15T11:53:30.342" v="566" actId="208"/>
          <ac:cxnSpMkLst>
            <pc:docMk/>
            <pc:sldMk cId="3133064453" sldId="354"/>
            <ac:cxnSpMk id="10" creationId="{FED82101-C4E8-64FA-79D5-31C4897B30AE}"/>
          </ac:cxnSpMkLst>
        </pc:cxnChg>
        <pc:cxnChg chg="mod">
          <ac:chgData name="Mats Necker" userId="2d97bddf-6881-4b42-b7ae-84f5465d8fc5" providerId="ADAL" clId="{AA2D46BA-CB26-4EA5-9AC8-46E2340DA825}" dt="2025-06-15T11:53:25.306" v="564" actId="208"/>
          <ac:cxnSpMkLst>
            <pc:docMk/>
            <pc:sldMk cId="3133064453" sldId="354"/>
            <ac:cxnSpMk id="18" creationId="{611C2F23-A5B6-A56B-AA6D-2BAA917BBA89}"/>
          </ac:cxnSpMkLst>
        </pc:cxnChg>
        <pc:cxnChg chg="mod">
          <ac:chgData name="Mats Necker" userId="2d97bddf-6881-4b42-b7ae-84f5465d8fc5" providerId="ADAL" clId="{AA2D46BA-CB26-4EA5-9AC8-46E2340DA825}" dt="2025-06-15T11:53:27.989" v="565" actId="208"/>
          <ac:cxnSpMkLst>
            <pc:docMk/>
            <pc:sldMk cId="3133064453" sldId="354"/>
            <ac:cxnSpMk id="19" creationId="{4BEBE19C-5A5D-970D-C069-5FB576176354}"/>
          </ac:cxnSpMkLst>
        </pc:cxnChg>
      </pc:sldChg>
      <pc:sldChg chg="del">
        <pc:chgData name="Mats Necker" userId="2d97bddf-6881-4b42-b7ae-84f5465d8fc5" providerId="ADAL" clId="{AA2D46BA-CB26-4EA5-9AC8-46E2340DA825}" dt="2025-06-15T10:50:34.131" v="493" actId="47"/>
        <pc:sldMkLst>
          <pc:docMk/>
          <pc:sldMk cId="579218646" sldId="575"/>
        </pc:sldMkLst>
      </pc:sldChg>
      <pc:sldChg chg="addSp delSp modSp add mod ord modClrScheme addAnim delAnim chgLayout">
        <pc:chgData name="Mats Necker" userId="2d97bddf-6881-4b42-b7ae-84f5465d8fc5" providerId="ADAL" clId="{AA2D46BA-CB26-4EA5-9AC8-46E2340DA825}" dt="2025-06-15T12:06:07.667" v="670" actId="27636"/>
        <pc:sldMkLst>
          <pc:docMk/>
          <pc:sldMk cId="1751169931" sldId="2147471109"/>
        </pc:sldMkLst>
        <pc:spChg chg="add del mod">
          <ac:chgData name="Mats Necker" userId="2d97bddf-6881-4b42-b7ae-84f5465d8fc5" providerId="ADAL" clId="{AA2D46BA-CB26-4EA5-9AC8-46E2340DA825}" dt="2025-06-15T12:06:07.667" v="670" actId="27636"/>
          <ac:spMkLst>
            <pc:docMk/>
            <pc:sldMk cId="1751169931" sldId="2147471109"/>
            <ac:spMk id="2" creationId="{98F8F5A3-15A1-F0EB-9180-15A7CD7804DD}"/>
          </ac:spMkLst>
        </pc:spChg>
        <pc:spChg chg="mod ord">
          <ac:chgData name="Mats Necker" userId="2d97bddf-6881-4b42-b7ae-84f5465d8fc5" providerId="ADAL" clId="{AA2D46BA-CB26-4EA5-9AC8-46E2340DA825}" dt="2025-06-15T12:05:43.782" v="652" actId="1076"/>
          <ac:spMkLst>
            <pc:docMk/>
            <pc:sldMk cId="1751169931" sldId="2147471109"/>
            <ac:spMk id="3" creationId="{00000000-0000-0000-0000-000000000000}"/>
          </ac:spMkLst>
        </pc:spChg>
        <pc:spChg chg="add del mod ord">
          <ac:chgData name="Mats Necker" userId="2d97bddf-6881-4b42-b7ae-84f5465d8fc5" providerId="ADAL" clId="{AA2D46BA-CB26-4EA5-9AC8-46E2340DA825}" dt="2025-06-15T12:05:53.616" v="655" actId="478"/>
          <ac:spMkLst>
            <pc:docMk/>
            <pc:sldMk cId="1751169931" sldId="2147471109"/>
            <ac:spMk id="4" creationId="{6C62C640-E9D7-1371-20E3-53CE98DD88CD}"/>
          </ac:spMkLst>
        </pc:spChg>
        <pc:graphicFrameChg chg="add del mod ord">
          <ac:chgData name="Mats Necker" userId="2d97bddf-6881-4b42-b7ae-84f5465d8fc5" providerId="ADAL" clId="{AA2D46BA-CB26-4EA5-9AC8-46E2340DA825}" dt="2025-06-15T12:06:02.131" v="656" actId="1076"/>
          <ac:graphicFrameMkLst>
            <pc:docMk/>
            <pc:sldMk cId="1751169931" sldId="2147471109"/>
            <ac:graphicFrameMk id="27" creationId="{22FC70E7-3951-456E-9504-4C9CD36FF99D}"/>
          </ac:graphicFrameMkLst>
        </pc:graphicFrameChg>
      </pc:sldChg>
      <pc:sldChg chg="del">
        <pc:chgData name="Mats Necker" userId="2d97bddf-6881-4b42-b7ae-84f5465d8fc5" providerId="ADAL" clId="{AA2D46BA-CB26-4EA5-9AC8-46E2340DA825}" dt="2025-06-15T10:50:34.131" v="493" actId="47"/>
        <pc:sldMkLst>
          <pc:docMk/>
          <pc:sldMk cId="1607594526" sldId="2147472890"/>
        </pc:sldMkLst>
      </pc:sldChg>
      <pc:sldChg chg="modSp mod ord">
        <pc:chgData name="Mats Necker" userId="2d97bddf-6881-4b42-b7ae-84f5465d8fc5" providerId="ADAL" clId="{AA2D46BA-CB26-4EA5-9AC8-46E2340DA825}" dt="2025-06-15T10:40:01.490" v="374"/>
        <pc:sldMkLst>
          <pc:docMk/>
          <pc:sldMk cId="3856323483" sldId="2147472891"/>
        </pc:sldMkLst>
        <pc:spChg chg="mod">
          <ac:chgData name="Mats Necker" userId="2d97bddf-6881-4b42-b7ae-84f5465d8fc5" providerId="ADAL" clId="{AA2D46BA-CB26-4EA5-9AC8-46E2340DA825}" dt="2025-06-15T10:40:01.490" v="374"/>
          <ac:spMkLst>
            <pc:docMk/>
            <pc:sldMk cId="3856323483" sldId="2147472891"/>
            <ac:spMk id="2" creationId="{5454A363-9914-CA92-C6D0-6229058CCB7F}"/>
          </ac:spMkLst>
        </pc:spChg>
      </pc:sldChg>
      <pc:sldChg chg="del">
        <pc:chgData name="Mats Necker" userId="2d97bddf-6881-4b42-b7ae-84f5465d8fc5" providerId="ADAL" clId="{AA2D46BA-CB26-4EA5-9AC8-46E2340DA825}" dt="2025-06-15T10:50:34.131" v="493" actId="47"/>
        <pc:sldMkLst>
          <pc:docMk/>
          <pc:sldMk cId="1861616986" sldId="2147479697"/>
        </pc:sldMkLst>
      </pc:sldChg>
      <pc:sldChg chg="del">
        <pc:chgData name="Mats Necker" userId="2d97bddf-6881-4b42-b7ae-84f5465d8fc5" providerId="ADAL" clId="{AA2D46BA-CB26-4EA5-9AC8-46E2340DA825}" dt="2025-06-15T10:50:34.131" v="493" actId="47"/>
        <pc:sldMkLst>
          <pc:docMk/>
          <pc:sldMk cId="2101461268" sldId="2147479698"/>
        </pc:sldMkLst>
      </pc:sldChg>
      <pc:sldChg chg="del">
        <pc:chgData name="Mats Necker" userId="2d97bddf-6881-4b42-b7ae-84f5465d8fc5" providerId="ADAL" clId="{AA2D46BA-CB26-4EA5-9AC8-46E2340DA825}" dt="2025-06-15T10:50:34.131" v="493" actId="47"/>
        <pc:sldMkLst>
          <pc:docMk/>
          <pc:sldMk cId="3446179560" sldId="2147479700"/>
        </pc:sldMkLst>
      </pc:sldChg>
      <pc:sldChg chg="del">
        <pc:chgData name="Mats Necker" userId="2d97bddf-6881-4b42-b7ae-84f5465d8fc5" providerId="ADAL" clId="{AA2D46BA-CB26-4EA5-9AC8-46E2340DA825}" dt="2025-06-15T10:50:34.131" v="493" actId="47"/>
        <pc:sldMkLst>
          <pc:docMk/>
          <pc:sldMk cId="3228628609" sldId="2147479701"/>
        </pc:sldMkLst>
      </pc:sldChg>
      <pc:sldChg chg="del">
        <pc:chgData name="Mats Necker" userId="2d97bddf-6881-4b42-b7ae-84f5465d8fc5" providerId="ADAL" clId="{AA2D46BA-CB26-4EA5-9AC8-46E2340DA825}" dt="2025-06-15T10:50:34.131" v="493" actId="47"/>
        <pc:sldMkLst>
          <pc:docMk/>
          <pc:sldMk cId="3190976860" sldId="2147479702"/>
        </pc:sldMkLst>
      </pc:sldChg>
      <pc:sldChg chg="del">
        <pc:chgData name="Mats Necker" userId="2d97bddf-6881-4b42-b7ae-84f5465d8fc5" providerId="ADAL" clId="{AA2D46BA-CB26-4EA5-9AC8-46E2340DA825}" dt="2025-06-15T10:50:34.131" v="493" actId="47"/>
        <pc:sldMkLst>
          <pc:docMk/>
          <pc:sldMk cId="135254172" sldId="2147479705"/>
        </pc:sldMkLst>
      </pc:sldChg>
      <pc:sldChg chg="del">
        <pc:chgData name="Mats Necker" userId="2d97bddf-6881-4b42-b7ae-84f5465d8fc5" providerId="ADAL" clId="{AA2D46BA-CB26-4EA5-9AC8-46E2340DA825}" dt="2025-06-15T10:50:34.131" v="493" actId="47"/>
        <pc:sldMkLst>
          <pc:docMk/>
          <pc:sldMk cId="3937304817" sldId="2147479706"/>
        </pc:sldMkLst>
      </pc:sldChg>
      <pc:sldChg chg="del">
        <pc:chgData name="Mats Necker" userId="2d97bddf-6881-4b42-b7ae-84f5465d8fc5" providerId="ADAL" clId="{AA2D46BA-CB26-4EA5-9AC8-46E2340DA825}" dt="2025-06-15T10:50:34.131" v="493" actId="47"/>
        <pc:sldMkLst>
          <pc:docMk/>
          <pc:sldMk cId="4243547176" sldId="2147479707"/>
        </pc:sldMkLst>
      </pc:sldChg>
      <pc:sldChg chg="del">
        <pc:chgData name="Mats Necker" userId="2d97bddf-6881-4b42-b7ae-84f5465d8fc5" providerId="ADAL" clId="{AA2D46BA-CB26-4EA5-9AC8-46E2340DA825}" dt="2025-06-15T10:50:34.131" v="493" actId="47"/>
        <pc:sldMkLst>
          <pc:docMk/>
          <pc:sldMk cId="3067889820" sldId="2147479710"/>
        </pc:sldMkLst>
      </pc:sldChg>
      <pc:sldChg chg="del">
        <pc:chgData name="Mats Necker" userId="2d97bddf-6881-4b42-b7ae-84f5465d8fc5" providerId="ADAL" clId="{AA2D46BA-CB26-4EA5-9AC8-46E2340DA825}" dt="2025-06-15T10:50:34.131" v="493" actId="47"/>
        <pc:sldMkLst>
          <pc:docMk/>
          <pc:sldMk cId="4148339923" sldId="2147479712"/>
        </pc:sldMkLst>
      </pc:sldChg>
      <pc:sldChg chg="del">
        <pc:chgData name="Mats Necker" userId="2d97bddf-6881-4b42-b7ae-84f5465d8fc5" providerId="ADAL" clId="{AA2D46BA-CB26-4EA5-9AC8-46E2340DA825}" dt="2025-06-15T10:50:34.131" v="493" actId="47"/>
        <pc:sldMkLst>
          <pc:docMk/>
          <pc:sldMk cId="1209427033" sldId="2147479713"/>
        </pc:sldMkLst>
      </pc:sldChg>
      <pc:sldChg chg="del">
        <pc:chgData name="Mats Necker" userId="2d97bddf-6881-4b42-b7ae-84f5465d8fc5" providerId="ADAL" clId="{AA2D46BA-CB26-4EA5-9AC8-46E2340DA825}" dt="2025-06-15T10:50:34.131" v="493" actId="47"/>
        <pc:sldMkLst>
          <pc:docMk/>
          <pc:sldMk cId="1814275969" sldId="2147479718"/>
        </pc:sldMkLst>
      </pc:sldChg>
      <pc:sldChg chg="del">
        <pc:chgData name="Mats Necker" userId="2d97bddf-6881-4b42-b7ae-84f5465d8fc5" providerId="ADAL" clId="{AA2D46BA-CB26-4EA5-9AC8-46E2340DA825}" dt="2025-06-15T10:50:34.131" v="493" actId="47"/>
        <pc:sldMkLst>
          <pc:docMk/>
          <pc:sldMk cId="545931190" sldId="2147479723"/>
        </pc:sldMkLst>
      </pc:sldChg>
      <pc:sldChg chg="del">
        <pc:chgData name="Mats Necker" userId="2d97bddf-6881-4b42-b7ae-84f5465d8fc5" providerId="ADAL" clId="{AA2D46BA-CB26-4EA5-9AC8-46E2340DA825}" dt="2025-06-15T10:50:34.131" v="493" actId="47"/>
        <pc:sldMkLst>
          <pc:docMk/>
          <pc:sldMk cId="2600007471" sldId="2147479735"/>
        </pc:sldMkLst>
      </pc:sldChg>
      <pc:sldChg chg="del">
        <pc:chgData name="Mats Necker" userId="2d97bddf-6881-4b42-b7ae-84f5465d8fc5" providerId="ADAL" clId="{AA2D46BA-CB26-4EA5-9AC8-46E2340DA825}" dt="2025-06-15T10:50:34.131" v="493" actId="47"/>
        <pc:sldMkLst>
          <pc:docMk/>
          <pc:sldMk cId="3920909417" sldId="2147483408"/>
        </pc:sldMkLst>
      </pc:sldChg>
      <pc:sldChg chg="del">
        <pc:chgData name="Mats Necker" userId="2d97bddf-6881-4b42-b7ae-84f5465d8fc5" providerId="ADAL" clId="{AA2D46BA-CB26-4EA5-9AC8-46E2340DA825}" dt="2025-06-15T10:50:34.131" v="493" actId="47"/>
        <pc:sldMkLst>
          <pc:docMk/>
          <pc:sldMk cId="1201989102" sldId="2147483409"/>
        </pc:sldMkLst>
      </pc:sldChg>
      <pc:sldChg chg="del">
        <pc:chgData name="Mats Necker" userId="2d97bddf-6881-4b42-b7ae-84f5465d8fc5" providerId="ADAL" clId="{AA2D46BA-CB26-4EA5-9AC8-46E2340DA825}" dt="2025-06-15T10:50:34.131" v="493" actId="47"/>
        <pc:sldMkLst>
          <pc:docMk/>
          <pc:sldMk cId="1495896131" sldId="2147483410"/>
        </pc:sldMkLst>
      </pc:sldChg>
      <pc:sldChg chg="del">
        <pc:chgData name="Mats Necker" userId="2d97bddf-6881-4b42-b7ae-84f5465d8fc5" providerId="ADAL" clId="{AA2D46BA-CB26-4EA5-9AC8-46E2340DA825}" dt="2025-06-15T10:50:34.131" v="493" actId="47"/>
        <pc:sldMkLst>
          <pc:docMk/>
          <pc:sldMk cId="612387131" sldId="2147483411"/>
        </pc:sldMkLst>
      </pc:sldChg>
      <pc:sldChg chg="del">
        <pc:chgData name="Mats Necker" userId="2d97bddf-6881-4b42-b7ae-84f5465d8fc5" providerId="ADAL" clId="{AA2D46BA-CB26-4EA5-9AC8-46E2340DA825}" dt="2025-06-15T10:50:34.131" v="493" actId="47"/>
        <pc:sldMkLst>
          <pc:docMk/>
          <pc:sldMk cId="3307567147" sldId="2147483413"/>
        </pc:sldMkLst>
      </pc:sldChg>
      <pc:sldChg chg="addSp delSp modSp new mod modClrScheme chgLayout">
        <pc:chgData name="Mats Necker" userId="2d97bddf-6881-4b42-b7ae-84f5465d8fc5" providerId="ADAL" clId="{AA2D46BA-CB26-4EA5-9AC8-46E2340DA825}" dt="2025-06-15T10:34:30.801" v="343" actId="1076"/>
        <pc:sldMkLst>
          <pc:docMk/>
          <pc:sldMk cId="42370905" sldId="2147483414"/>
        </pc:sldMkLst>
        <pc:spChg chg="del mod ord">
          <ac:chgData name="Mats Necker" userId="2d97bddf-6881-4b42-b7ae-84f5465d8fc5" providerId="ADAL" clId="{AA2D46BA-CB26-4EA5-9AC8-46E2340DA825}" dt="2025-06-15T10:24:07.841" v="182" actId="700"/>
          <ac:spMkLst>
            <pc:docMk/>
            <pc:sldMk cId="42370905" sldId="2147483414"/>
            <ac:spMk id="2" creationId="{9B11896A-ACE2-4FFB-0F0C-04F710FA40E0}"/>
          </ac:spMkLst>
        </pc:spChg>
        <pc:spChg chg="add mod ord">
          <ac:chgData name="Mats Necker" userId="2d97bddf-6881-4b42-b7ae-84f5465d8fc5" providerId="ADAL" clId="{AA2D46BA-CB26-4EA5-9AC8-46E2340DA825}" dt="2025-06-15T10:24:16.016" v="207" actId="20577"/>
          <ac:spMkLst>
            <pc:docMk/>
            <pc:sldMk cId="42370905" sldId="2147483414"/>
            <ac:spMk id="3" creationId="{61E895BA-8C02-12DE-0E31-A28EC899F2D4}"/>
          </ac:spMkLst>
        </pc:spChg>
        <pc:spChg chg="add mod ord">
          <ac:chgData name="Mats Necker" userId="2d97bddf-6881-4b42-b7ae-84f5465d8fc5" providerId="ADAL" clId="{AA2D46BA-CB26-4EA5-9AC8-46E2340DA825}" dt="2025-06-15T10:24:39.129" v="296" actId="5793"/>
          <ac:spMkLst>
            <pc:docMk/>
            <pc:sldMk cId="42370905" sldId="2147483414"/>
            <ac:spMk id="4" creationId="{C037AF6F-5CC4-00F1-0B11-03437D67DB16}"/>
          </ac:spMkLst>
        </pc:spChg>
        <pc:picChg chg="add mod">
          <ac:chgData name="Mats Necker" userId="2d97bddf-6881-4b42-b7ae-84f5465d8fc5" providerId="ADAL" clId="{AA2D46BA-CB26-4EA5-9AC8-46E2340DA825}" dt="2025-06-15T10:28:55.126" v="314" actId="1076"/>
          <ac:picMkLst>
            <pc:docMk/>
            <pc:sldMk cId="42370905" sldId="2147483414"/>
            <ac:picMk id="5" creationId="{D44B84D7-F597-591D-CB04-3D6C00324662}"/>
          </ac:picMkLst>
        </pc:picChg>
        <pc:picChg chg="add mod">
          <ac:chgData name="Mats Necker" userId="2d97bddf-6881-4b42-b7ae-84f5465d8fc5" providerId="ADAL" clId="{AA2D46BA-CB26-4EA5-9AC8-46E2340DA825}" dt="2025-06-15T10:31:50.039" v="333" actId="1076"/>
          <ac:picMkLst>
            <pc:docMk/>
            <pc:sldMk cId="42370905" sldId="2147483414"/>
            <ac:picMk id="7" creationId="{EB402634-B36B-0AC5-B321-C8C795F8D207}"/>
          </ac:picMkLst>
        </pc:picChg>
        <pc:picChg chg="add mod">
          <ac:chgData name="Mats Necker" userId="2d97bddf-6881-4b42-b7ae-84f5465d8fc5" providerId="ADAL" clId="{AA2D46BA-CB26-4EA5-9AC8-46E2340DA825}" dt="2025-06-15T10:34:30.801" v="343" actId="1076"/>
          <ac:picMkLst>
            <pc:docMk/>
            <pc:sldMk cId="42370905" sldId="2147483414"/>
            <ac:picMk id="9" creationId="{ABA899FB-F98D-AA36-4005-E1AFCB22C52A}"/>
          </ac:picMkLst>
        </pc:picChg>
        <pc:picChg chg="add mod">
          <ac:chgData name="Mats Necker" userId="2d97bddf-6881-4b42-b7ae-84f5465d8fc5" providerId="ADAL" clId="{AA2D46BA-CB26-4EA5-9AC8-46E2340DA825}" dt="2025-06-15T10:33:42.160" v="342" actId="1076"/>
          <ac:picMkLst>
            <pc:docMk/>
            <pc:sldMk cId="42370905" sldId="2147483414"/>
            <ac:picMk id="11" creationId="{240682E9-AD2D-8D5E-8D2C-4D0CCBCFB3FC}"/>
          </ac:picMkLst>
        </pc:picChg>
        <pc:picChg chg="add mod">
          <ac:chgData name="Mats Necker" userId="2d97bddf-6881-4b42-b7ae-84f5465d8fc5" providerId="ADAL" clId="{AA2D46BA-CB26-4EA5-9AC8-46E2340DA825}" dt="2025-06-15T10:30:09.093" v="323" actId="1076"/>
          <ac:picMkLst>
            <pc:docMk/>
            <pc:sldMk cId="42370905" sldId="2147483414"/>
            <ac:picMk id="1026" creationId="{76EE02CF-1DD7-4DDD-6260-D0D65E7898D4}"/>
          </ac:picMkLst>
        </pc:picChg>
        <pc:picChg chg="add del mod">
          <ac:chgData name="Mats Necker" userId="2d97bddf-6881-4b42-b7ae-84f5465d8fc5" providerId="ADAL" clId="{AA2D46BA-CB26-4EA5-9AC8-46E2340DA825}" dt="2025-06-15T10:25:52.252" v="304" actId="478"/>
          <ac:picMkLst>
            <pc:docMk/>
            <pc:sldMk cId="42370905" sldId="2147483414"/>
            <ac:picMk id="1026" creationId="{FA5F9EB3-165A-2CDE-3414-C36DB84AFA52}"/>
          </ac:picMkLst>
        </pc:picChg>
        <pc:picChg chg="add del mod">
          <ac:chgData name="Mats Necker" userId="2d97bddf-6881-4b42-b7ae-84f5465d8fc5" providerId="ADAL" clId="{AA2D46BA-CB26-4EA5-9AC8-46E2340DA825}" dt="2025-06-15T10:25:50.768" v="303" actId="478"/>
          <ac:picMkLst>
            <pc:docMk/>
            <pc:sldMk cId="42370905" sldId="2147483414"/>
            <ac:picMk id="1028" creationId="{133CA9B2-A82C-E4F2-B079-22FA564C2313}"/>
          </ac:picMkLst>
        </pc:picChg>
        <pc:picChg chg="add del">
          <ac:chgData name="Mats Necker" userId="2d97bddf-6881-4b42-b7ae-84f5465d8fc5" providerId="ADAL" clId="{AA2D46BA-CB26-4EA5-9AC8-46E2340DA825}" dt="2025-06-15T10:31:35.818" v="329" actId="478"/>
          <ac:picMkLst>
            <pc:docMk/>
            <pc:sldMk cId="42370905" sldId="2147483414"/>
            <ac:picMk id="1028" creationId="{B8C4383D-DFB7-33D1-DD17-A7B088D3793D}"/>
          </ac:picMkLst>
        </pc:picChg>
        <pc:picChg chg="add mod">
          <ac:chgData name="Mats Necker" userId="2d97bddf-6881-4b42-b7ae-84f5465d8fc5" providerId="ADAL" clId="{AA2D46BA-CB26-4EA5-9AC8-46E2340DA825}" dt="2025-06-15T10:31:48.505" v="332" actId="1076"/>
          <ac:picMkLst>
            <pc:docMk/>
            <pc:sldMk cId="42370905" sldId="2147483414"/>
            <ac:picMk id="1030" creationId="{275CB598-8E25-0D42-F3AB-0063CF368A39}"/>
          </ac:picMkLst>
        </pc:picChg>
        <pc:picChg chg="add del mod">
          <ac:chgData name="Mats Necker" userId="2d97bddf-6881-4b42-b7ae-84f5465d8fc5" providerId="ADAL" clId="{AA2D46BA-CB26-4EA5-9AC8-46E2340DA825}" dt="2025-06-15T10:33:10.578" v="337" actId="478"/>
          <ac:picMkLst>
            <pc:docMk/>
            <pc:sldMk cId="42370905" sldId="2147483414"/>
            <ac:picMk id="1032" creationId="{B46CEED1-E451-A250-D3E6-9221FFCEE626}"/>
          </ac:picMkLst>
        </pc:picChg>
      </pc:sldChg>
      <pc:sldChg chg="addSp delSp modSp new mod modClrScheme chgLayout">
        <pc:chgData name="Mats Necker" userId="2d97bddf-6881-4b42-b7ae-84f5465d8fc5" providerId="ADAL" clId="{AA2D46BA-CB26-4EA5-9AC8-46E2340DA825}" dt="2025-06-15T10:43:05.930" v="460" actId="207"/>
        <pc:sldMkLst>
          <pc:docMk/>
          <pc:sldMk cId="2264627833" sldId="2147483415"/>
        </pc:sldMkLst>
        <pc:spChg chg="del mod ord">
          <ac:chgData name="Mats Necker" userId="2d97bddf-6881-4b42-b7ae-84f5465d8fc5" providerId="ADAL" clId="{AA2D46BA-CB26-4EA5-9AC8-46E2340DA825}" dt="2025-06-15T10:39:02.538" v="345" actId="700"/>
          <ac:spMkLst>
            <pc:docMk/>
            <pc:sldMk cId="2264627833" sldId="2147483415"/>
            <ac:spMk id="2" creationId="{6E26ED27-2BCD-4C53-3972-BE577AB70252}"/>
          </ac:spMkLst>
        </pc:spChg>
        <pc:spChg chg="del mod ord">
          <ac:chgData name="Mats Necker" userId="2d97bddf-6881-4b42-b7ae-84f5465d8fc5" providerId="ADAL" clId="{AA2D46BA-CB26-4EA5-9AC8-46E2340DA825}" dt="2025-06-15T10:39:02.538" v="345" actId="700"/>
          <ac:spMkLst>
            <pc:docMk/>
            <pc:sldMk cId="2264627833" sldId="2147483415"/>
            <ac:spMk id="3" creationId="{45EEA6F9-0A32-CC9D-E5B7-913D8337748E}"/>
          </ac:spMkLst>
        </pc:spChg>
        <pc:spChg chg="add mod ord">
          <ac:chgData name="Mats Necker" userId="2d97bddf-6881-4b42-b7ae-84f5465d8fc5" providerId="ADAL" clId="{AA2D46BA-CB26-4EA5-9AC8-46E2340DA825}" dt="2025-06-15T10:42:20.186" v="446" actId="20577"/>
          <ac:spMkLst>
            <pc:docMk/>
            <pc:sldMk cId="2264627833" sldId="2147483415"/>
            <ac:spMk id="4" creationId="{FDDCBF75-9E9F-C9A4-5945-A485446E1A1C}"/>
          </ac:spMkLst>
        </pc:spChg>
        <pc:spChg chg="add mod ord">
          <ac:chgData name="Mats Necker" userId="2d97bddf-6881-4b42-b7ae-84f5465d8fc5" providerId="ADAL" clId="{AA2D46BA-CB26-4EA5-9AC8-46E2340DA825}" dt="2025-06-15T10:39:02.538" v="345" actId="700"/>
          <ac:spMkLst>
            <pc:docMk/>
            <pc:sldMk cId="2264627833" sldId="2147483415"/>
            <ac:spMk id="5" creationId="{37653D95-F319-9C39-D5DB-0B2D50BCE9C9}"/>
          </ac:spMkLst>
        </pc:spChg>
        <pc:spChg chg="add mod">
          <ac:chgData name="Mats Necker" userId="2d97bddf-6881-4b42-b7ae-84f5465d8fc5" providerId="ADAL" clId="{AA2D46BA-CB26-4EA5-9AC8-46E2340DA825}" dt="2025-06-15T10:43:05.930" v="460" actId="207"/>
          <ac:spMkLst>
            <pc:docMk/>
            <pc:sldMk cId="2264627833" sldId="2147483415"/>
            <ac:spMk id="8" creationId="{979B0A2B-A9BD-4EBE-BFD9-65191E32B31D}"/>
          </ac:spMkLst>
        </pc:spChg>
        <pc:picChg chg="add mod">
          <ac:chgData name="Mats Necker" userId="2d97bddf-6881-4b42-b7ae-84f5465d8fc5" providerId="ADAL" clId="{AA2D46BA-CB26-4EA5-9AC8-46E2340DA825}" dt="2025-06-15T10:42:14.539" v="415" actId="1076"/>
          <ac:picMkLst>
            <pc:docMk/>
            <pc:sldMk cId="2264627833" sldId="2147483415"/>
            <ac:picMk id="7" creationId="{91F446EA-92FF-A4C9-1C18-640230856D88}"/>
          </ac:picMkLst>
        </pc:picChg>
      </pc:sldChg>
      <pc:sldChg chg="delSp modSp add mod">
        <pc:chgData name="Mats Necker" userId="2d97bddf-6881-4b42-b7ae-84f5465d8fc5" providerId="ADAL" clId="{AA2D46BA-CB26-4EA5-9AC8-46E2340DA825}" dt="2025-06-15T11:56:01.559" v="594" actId="478"/>
        <pc:sldMkLst>
          <pc:docMk/>
          <pc:sldMk cId="3583297842" sldId="2147483416"/>
        </pc:sldMkLst>
        <pc:spChg chg="del">
          <ac:chgData name="Mats Necker" userId="2d97bddf-6881-4b42-b7ae-84f5465d8fc5" providerId="ADAL" clId="{AA2D46BA-CB26-4EA5-9AC8-46E2340DA825}" dt="2025-06-15T11:56:01.559" v="594" actId="478"/>
          <ac:spMkLst>
            <pc:docMk/>
            <pc:sldMk cId="3583297842" sldId="2147483416"/>
            <ac:spMk id="4" creationId="{367DB0C2-FDA1-5635-5A87-048312E2C96C}"/>
          </ac:spMkLst>
        </pc:spChg>
        <pc:spChg chg="mod">
          <ac:chgData name="Mats Necker" userId="2d97bddf-6881-4b42-b7ae-84f5465d8fc5" providerId="ADAL" clId="{AA2D46BA-CB26-4EA5-9AC8-46E2340DA825}" dt="2025-06-15T11:55:21.674" v="581" actId="20577"/>
          <ac:spMkLst>
            <pc:docMk/>
            <pc:sldMk cId="3583297842" sldId="2147483416"/>
            <ac:spMk id="6" creationId="{5DEEA512-4C46-E28E-58DB-F7FE2BC50A0C}"/>
          </ac:spMkLst>
        </pc:spChg>
      </pc:sldChg>
      <pc:sldChg chg="addSp delSp modSp new mod modClrScheme chgLayout">
        <pc:chgData name="Mats Necker" userId="2d97bddf-6881-4b42-b7ae-84f5465d8fc5" providerId="ADAL" clId="{AA2D46BA-CB26-4EA5-9AC8-46E2340DA825}" dt="2025-06-15T10:50:28.114" v="492" actId="1076"/>
        <pc:sldMkLst>
          <pc:docMk/>
          <pc:sldMk cId="2560384169" sldId="2147483417"/>
        </pc:sldMkLst>
        <pc:spChg chg="del mod ord">
          <ac:chgData name="Mats Necker" userId="2d97bddf-6881-4b42-b7ae-84f5465d8fc5" providerId="ADAL" clId="{AA2D46BA-CB26-4EA5-9AC8-46E2340DA825}" dt="2025-06-15T10:43:54.722" v="462" actId="700"/>
          <ac:spMkLst>
            <pc:docMk/>
            <pc:sldMk cId="2560384169" sldId="2147483417"/>
            <ac:spMk id="2" creationId="{3A6608B4-9773-866B-0840-600C769F2D54}"/>
          </ac:spMkLst>
        </pc:spChg>
        <pc:spChg chg="del mod ord">
          <ac:chgData name="Mats Necker" userId="2d97bddf-6881-4b42-b7ae-84f5465d8fc5" providerId="ADAL" clId="{AA2D46BA-CB26-4EA5-9AC8-46E2340DA825}" dt="2025-06-15T10:43:54.722" v="462" actId="700"/>
          <ac:spMkLst>
            <pc:docMk/>
            <pc:sldMk cId="2560384169" sldId="2147483417"/>
            <ac:spMk id="3" creationId="{B9C908EC-E928-D6EB-28A9-0778CDC1A8BE}"/>
          </ac:spMkLst>
        </pc:spChg>
        <pc:spChg chg="add mod ord">
          <ac:chgData name="Mats Necker" userId="2d97bddf-6881-4b42-b7ae-84f5465d8fc5" providerId="ADAL" clId="{AA2D46BA-CB26-4EA5-9AC8-46E2340DA825}" dt="2025-06-15T10:43:58.205" v="480" actId="20577"/>
          <ac:spMkLst>
            <pc:docMk/>
            <pc:sldMk cId="2560384169" sldId="2147483417"/>
            <ac:spMk id="4" creationId="{9794BEA5-3375-DE95-D0C9-6EFEBC51E6EC}"/>
          </ac:spMkLst>
        </pc:spChg>
        <pc:spChg chg="add del mod ord">
          <ac:chgData name="Mats Necker" userId="2d97bddf-6881-4b42-b7ae-84f5465d8fc5" providerId="ADAL" clId="{AA2D46BA-CB26-4EA5-9AC8-46E2340DA825}" dt="2025-06-15T10:49:10.914" v="481" actId="478"/>
          <ac:spMkLst>
            <pc:docMk/>
            <pc:sldMk cId="2560384169" sldId="2147483417"/>
            <ac:spMk id="5" creationId="{A59D255F-B473-E45E-3B68-0A40AB1E6DB3}"/>
          </ac:spMkLst>
        </pc:spChg>
        <pc:picChg chg="add mod">
          <ac:chgData name="Mats Necker" userId="2d97bddf-6881-4b42-b7ae-84f5465d8fc5" providerId="ADAL" clId="{AA2D46BA-CB26-4EA5-9AC8-46E2340DA825}" dt="2025-06-15T10:50:24.185" v="490" actId="1076"/>
          <ac:picMkLst>
            <pc:docMk/>
            <pc:sldMk cId="2560384169" sldId="2147483417"/>
            <ac:picMk id="7" creationId="{F89A5932-6A23-EDAC-6535-2A468C5207F9}"/>
          </ac:picMkLst>
        </pc:picChg>
        <pc:picChg chg="add mod">
          <ac:chgData name="Mats Necker" userId="2d97bddf-6881-4b42-b7ae-84f5465d8fc5" providerId="ADAL" clId="{AA2D46BA-CB26-4EA5-9AC8-46E2340DA825}" dt="2025-06-15T10:50:28.114" v="492" actId="1076"/>
          <ac:picMkLst>
            <pc:docMk/>
            <pc:sldMk cId="2560384169" sldId="2147483417"/>
            <ac:picMk id="9" creationId="{03CA7DC2-F024-D59B-22AA-2C72C154C2CC}"/>
          </ac:picMkLst>
        </pc:picChg>
      </pc:sldChg>
      <pc:sldChg chg="delSp modSp add mod ord">
        <pc:chgData name="Mats Necker" userId="2d97bddf-6881-4b42-b7ae-84f5465d8fc5" providerId="ADAL" clId="{AA2D46BA-CB26-4EA5-9AC8-46E2340DA825}" dt="2025-06-15T11:56:13.600" v="596" actId="478"/>
        <pc:sldMkLst>
          <pc:docMk/>
          <pc:sldMk cId="399242620" sldId="2147483418"/>
        </pc:sldMkLst>
        <pc:spChg chg="del">
          <ac:chgData name="Mats Necker" userId="2d97bddf-6881-4b42-b7ae-84f5465d8fc5" providerId="ADAL" clId="{AA2D46BA-CB26-4EA5-9AC8-46E2340DA825}" dt="2025-06-15T11:56:13.600" v="596" actId="478"/>
          <ac:spMkLst>
            <pc:docMk/>
            <pc:sldMk cId="399242620" sldId="2147483418"/>
            <ac:spMk id="4" creationId="{A2BC7A9C-3E6F-5DC9-B6CF-5EF2E8D240BA}"/>
          </ac:spMkLst>
        </pc:spChg>
        <pc:spChg chg="mod">
          <ac:chgData name="Mats Necker" userId="2d97bddf-6881-4b42-b7ae-84f5465d8fc5" providerId="ADAL" clId="{AA2D46BA-CB26-4EA5-9AC8-46E2340DA825}" dt="2025-06-15T11:50:22.124" v="521"/>
          <ac:spMkLst>
            <pc:docMk/>
            <pc:sldMk cId="399242620" sldId="2147483418"/>
            <ac:spMk id="6" creationId="{3B1631AE-0DD5-8FD5-3C55-FA0250246F07}"/>
          </ac:spMkLst>
        </pc:spChg>
      </pc:sldChg>
      <pc:sldChg chg="delSp modSp add mod">
        <pc:chgData name="Mats Necker" userId="2d97bddf-6881-4b42-b7ae-84f5465d8fc5" providerId="ADAL" clId="{AA2D46BA-CB26-4EA5-9AC8-46E2340DA825}" dt="2025-06-15T11:56:06.226" v="595" actId="478"/>
        <pc:sldMkLst>
          <pc:docMk/>
          <pc:sldMk cId="2017179058" sldId="2147483419"/>
        </pc:sldMkLst>
        <pc:spChg chg="del">
          <ac:chgData name="Mats Necker" userId="2d97bddf-6881-4b42-b7ae-84f5465d8fc5" providerId="ADAL" clId="{AA2D46BA-CB26-4EA5-9AC8-46E2340DA825}" dt="2025-06-15T11:56:06.226" v="595" actId="478"/>
          <ac:spMkLst>
            <pc:docMk/>
            <pc:sldMk cId="2017179058" sldId="2147483419"/>
            <ac:spMk id="4" creationId="{FBCDDF2C-57FA-C1FD-65F5-BE67606B335D}"/>
          </ac:spMkLst>
        </pc:spChg>
        <pc:spChg chg="mod">
          <ac:chgData name="Mats Necker" userId="2d97bddf-6881-4b42-b7ae-84f5465d8fc5" providerId="ADAL" clId="{AA2D46BA-CB26-4EA5-9AC8-46E2340DA825}" dt="2025-06-15T11:50:56.077" v="556"/>
          <ac:spMkLst>
            <pc:docMk/>
            <pc:sldMk cId="2017179058" sldId="2147483419"/>
            <ac:spMk id="6" creationId="{DE2884D8-320F-4B21-1F64-68986D1D736D}"/>
          </ac:spMkLst>
        </pc:spChg>
      </pc:sldChg>
      <pc:sldChg chg="add">
        <pc:chgData name="Mats Necker" userId="2d97bddf-6881-4b42-b7ae-84f5465d8fc5" providerId="ADAL" clId="{AA2D46BA-CB26-4EA5-9AC8-46E2340DA825}" dt="2025-06-15T11:52:22.605" v="557"/>
        <pc:sldMkLst>
          <pc:docMk/>
          <pc:sldMk cId="4019058481" sldId="2147483420"/>
        </pc:sldMkLst>
      </pc:sldChg>
      <pc:sldChg chg="modSp add del mod modClrScheme chgLayout">
        <pc:chgData name="Mats Necker" userId="2d97bddf-6881-4b42-b7ae-84f5465d8fc5" providerId="ADAL" clId="{AA2D46BA-CB26-4EA5-9AC8-46E2340DA825}" dt="2025-06-15T11:54:28.333" v="576" actId="700"/>
        <pc:sldMkLst>
          <pc:docMk/>
          <pc:sldMk cId="1634160453" sldId="2147483421"/>
        </pc:sldMkLst>
        <pc:spChg chg="mod ord">
          <ac:chgData name="Mats Necker" userId="2d97bddf-6881-4b42-b7ae-84f5465d8fc5" providerId="ADAL" clId="{AA2D46BA-CB26-4EA5-9AC8-46E2340DA825}" dt="2025-06-15T11:54:28.333" v="576" actId="700"/>
          <ac:spMkLst>
            <pc:docMk/>
            <pc:sldMk cId="1634160453" sldId="2147483421"/>
            <ac:spMk id="9" creationId="{1D4D276F-0E62-7839-78B1-F8F4A274A7F2}"/>
          </ac:spMkLst>
        </pc:spChg>
        <pc:spChg chg="mod ord">
          <ac:chgData name="Mats Necker" userId="2d97bddf-6881-4b42-b7ae-84f5465d8fc5" providerId="ADAL" clId="{AA2D46BA-CB26-4EA5-9AC8-46E2340DA825}" dt="2025-06-15T11:54:28.333" v="576" actId="700"/>
          <ac:spMkLst>
            <pc:docMk/>
            <pc:sldMk cId="1634160453" sldId="2147483421"/>
            <ac:spMk id="10" creationId="{A310D5A3-E9C4-46A3-6161-3B609BB028BA}"/>
          </ac:spMkLst>
        </pc:spChg>
        <pc:spChg chg="mod ord">
          <ac:chgData name="Mats Necker" userId="2d97bddf-6881-4b42-b7ae-84f5465d8fc5" providerId="ADAL" clId="{AA2D46BA-CB26-4EA5-9AC8-46E2340DA825}" dt="2025-06-15T11:54:28.333" v="576" actId="700"/>
          <ac:spMkLst>
            <pc:docMk/>
            <pc:sldMk cId="1634160453" sldId="2147483421"/>
            <ac:spMk id="11" creationId="{4A4920F8-F0B0-B8B0-EFA5-0AD586AB1D3A}"/>
          </ac:spMkLst>
        </pc:spChg>
      </pc:sldChg>
      <pc:sldChg chg="delSp modSp add mod">
        <pc:chgData name="Mats Necker" userId="2d97bddf-6881-4b42-b7ae-84f5465d8fc5" providerId="ADAL" clId="{AA2D46BA-CB26-4EA5-9AC8-46E2340DA825}" dt="2025-06-15T11:55:57.024" v="593" actId="478"/>
        <pc:sldMkLst>
          <pc:docMk/>
          <pc:sldMk cId="3818820112" sldId="2147483422"/>
        </pc:sldMkLst>
        <pc:spChg chg="del">
          <ac:chgData name="Mats Necker" userId="2d97bddf-6881-4b42-b7ae-84f5465d8fc5" providerId="ADAL" clId="{AA2D46BA-CB26-4EA5-9AC8-46E2340DA825}" dt="2025-06-15T11:55:57.024" v="593" actId="478"/>
          <ac:spMkLst>
            <pc:docMk/>
            <pc:sldMk cId="3818820112" sldId="2147483422"/>
            <ac:spMk id="4" creationId="{17C6869E-4995-AB92-A606-060D03D4D963}"/>
          </ac:spMkLst>
        </pc:spChg>
        <pc:spChg chg="mod">
          <ac:chgData name="Mats Necker" userId="2d97bddf-6881-4b42-b7ae-84f5465d8fc5" providerId="ADAL" clId="{AA2D46BA-CB26-4EA5-9AC8-46E2340DA825}" dt="2025-06-15T11:55:50.620" v="592"/>
          <ac:spMkLst>
            <pc:docMk/>
            <pc:sldMk cId="3818820112" sldId="2147483422"/>
            <ac:spMk id="6" creationId="{D1D8001D-A6B1-3DC3-B209-57AF4C4D8E5A}"/>
          </ac:spMkLst>
        </pc:spChg>
      </pc:sldChg>
      <pc:sldChg chg="addSp modSp add mod">
        <pc:chgData name="Mats Necker" userId="2d97bddf-6881-4b42-b7ae-84f5465d8fc5" providerId="ADAL" clId="{AA2D46BA-CB26-4EA5-9AC8-46E2340DA825}" dt="2025-06-15T12:07:07.272" v="690" actId="1076"/>
        <pc:sldMkLst>
          <pc:docMk/>
          <pc:sldMk cId="4025964506" sldId="2147483423"/>
        </pc:sldMkLst>
        <pc:spChg chg="mod">
          <ac:chgData name="Mats Necker" userId="2d97bddf-6881-4b42-b7ae-84f5465d8fc5" providerId="ADAL" clId="{AA2D46BA-CB26-4EA5-9AC8-46E2340DA825}" dt="2025-06-15T12:06:43.230" v="687" actId="20577"/>
          <ac:spMkLst>
            <pc:docMk/>
            <pc:sldMk cId="4025964506" sldId="2147483423"/>
            <ac:spMk id="6" creationId="{1900D720-88BB-6C2E-8C93-4D215D33DD97}"/>
          </ac:spMkLst>
        </pc:spChg>
        <pc:picChg chg="add mod">
          <ac:chgData name="Mats Necker" userId="2d97bddf-6881-4b42-b7ae-84f5465d8fc5" providerId="ADAL" clId="{AA2D46BA-CB26-4EA5-9AC8-46E2340DA825}" dt="2025-06-15T12:07:07.272" v="690" actId="1076"/>
          <ac:picMkLst>
            <pc:docMk/>
            <pc:sldMk cId="4025964506" sldId="2147483423"/>
            <ac:picMk id="2" creationId="{1901E817-3A7A-4F33-4AA7-07F86CAA12A4}"/>
          </ac:picMkLst>
        </pc:picChg>
      </pc:sldChg>
      <pc:sldChg chg="addSp delSp modSp new mod modClrScheme chgLayout">
        <pc:chgData name="Mats Necker" userId="2d97bddf-6881-4b42-b7ae-84f5465d8fc5" providerId="ADAL" clId="{AA2D46BA-CB26-4EA5-9AC8-46E2340DA825}" dt="2025-06-15T12:15:43.501" v="727" actId="1076"/>
        <pc:sldMkLst>
          <pc:docMk/>
          <pc:sldMk cId="440530242" sldId="2147483424"/>
        </pc:sldMkLst>
        <pc:spChg chg="del mod ord">
          <ac:chgData name="Mats Necker" userId="2d97bddf-6881-4b42-b7ae-84f5465d8fc5" providerId="ADAL" clId="{AA2D46BA-CB26-4EA5-9AC8-46E2340DA825}" dt="2025-06-15T12:10:57.260" v="692" actId="700"/>
          <ac:spMkLst>
            <pc:docMk/>
            <pc:sldMk cId="440530242" sldId="2147483424"/>
            <ac:spMk id="2" creationId="{0228D71A-1C55-8363-2A51-857B7989D9AC}"/>
          </ac:spMkLst>
        </pc:spChg>
        <pc:spChg chg="add mod">
          <ac:chgData name="Mats Necker" userId="2d97bddf-6881-4b42-b7ae-84f5465d8fc5" providerId="ADAL" clId="{AA2D46BA-CB26-4EA5-9AC8-46E2340DA825}" dt="2025-06-15T12:15:43.501" v="727" actId="1076"/>
          <ac:spMkLst>
            <pc:docMk/>
            <pc:sldMk cId="440530242" sldId="2147483424"/>
            <ac:spMk id="2" creationId="{08B0E489-28F6-0236-65C3-48DB7551DFAD}"/>
          </ac:spMkLst>
        </pc:spChg>
        <pc:spChg chg="del mod ord">
          <ac:chgData name="Mats Necker" userId="2d97bddf-6881-4b42-b7ae-84f5465d8fc5" providerId="ADAL" clId="{AA2D46BA-CB26-4EA5-9AC8-46E2340DA825}" dt="2025-06-15T12:10:57.260" v="692" actId="700"/>
          <ac:spMkLst>
            <pc:docMk/>
            <pc:sldMk cId="440530242" sldId="2147483424"/>
            <ac:spMk id="3" creationId="{6B22FAB0-9CC0-6FDA-D413-C898B0593FE8}"/>
          </ac:spMkLst>
        </pc:spChg>
        <pc:spChg chg="add mod ord">
          <ac:chgData name="Mats Necker" userId="2d97bddf-6881-4b42-b7ae-84f5465d8fc5" providerId="ADAL" clId="{AA2D46BA-CB26-4EA5-9AC8-46E2340DA825}" dt="2025-06-15T12:11:01.249" v="708" actId="20577"/>
          <ac:spMkLst>
            <pc:docMk/>
            <pc:sldMk cId="440530242" sldId="2147483424"/>
            <ac:spMk id="4" creationId="{6666EDC7-2F81-4244-D608-9DAF3B4CE00C}"/>
          </ac:spMkLst>
        </pc:spChg>
        <pc:spChg chg="add del mod ord">
          <ac:chgData name="Mats Necker" userId="2d97bddf-6881-4b42-b7ae-84f5465d8fc5" providerId="ADAL" clId="{AA2D46BA-CB26-4EA5-9AC8-46E2340DA825}" dt="2025-06-15T12:13:59.546" v="713" actId="478"/>
          <ac:spMkLst>
            <pc:docMk/>
            <pc:sldMk cId="440530242" sldId="2147483424"/>
            <ac:spMk id="5" creationId="{F4222C1F-2D9A-7A61-BB8D-ECB8A2F98CD7}"/>
          </ac:spMkLst>
        </pc:spChg>
        <pc:picChg chg="add mod">
          <ac:chgData name="Mats Necker" userId="2d97bddf-6881-4b42-b7ae-84f5465d8fc5" providerId="ADAL" clId="{AA2D46BA-CB26-4EA5-9AC8-46E2340DA825}" dt="2025-06-15T12:14:07.892" v="718" actId="1076"/>
          <ac:picMkLst>
            <pc:docMk/>
            <pc:sldMk cId="440530242" sldId="2147483424"/>
            <ac:picMk id="7" creationId="{C6AE0948-53C0-E1B2-304E-B665A43266FB}"/>
          </ac:picMkLst>
        </pc:picChg>
        <pc:picChg chg="add mod">
          <ac:chgData name="Mats Necker" userId="2d97bddf-6881-4b42-b7ae-84f5465d8fc5" providerId="ADAL" clId="{AA2D46BA-CB26-4EA5-9AC8-46E2340DA825}" dt="2025-06-15T12:11:53.015" v="712" actId="1076"/>
          <ac:picMkLst>
            <pc:docMk/>
            <pc:sldMk cId="440530242" sldId="2147483424"/>
            <ac:picMk id="2050" creationId="{BB4A573A-1625-B133-CEFC-F42BEAA32B81}"/>
          </ac:picMkLst>
        </pc:picChg>
      </pc:sldChg>
      <pc:sldMasterChg chg="del delSldLayout">
        <pc:chgData name="Mats Necker" userId="2d97bddf-6881-4b42-b7ae-84f5465d8fc5" providerId="ADAL" clId="{AA2D46BA-CB26-4EA5-9AC8-46E2340DA825}" dt="2025-06-15T10:50:34.131" v="493" actId="47"/>
        <pc:sldMasterMkLst>
          <pc:docMk/>
          <pc:sldMasterMk cId="869504523" sldId="2147483695"/>
        </pc:sldMasterMkLst>
        <pc:sldLayoutChg chg="del">
          <pc:chgData name="Mats Necker" userId="2d97bddf-6881-4b42-b7ae-84f5465d8fc5" providerId="ADAL" clId="{AA2D46BA-CB26-4EA5-9AC8-46E2340DA825}" dt="2025-06-15T10:50:34.131" v="493" actId="47"/>
          <pc:sldLayoutMkLst>
            <pc:docMk/>
            <pc:sldMasterMk cId="869504523" sldId="2147483695"/>
            <pc:sldLayoutMk cId="4036928626" sldId="2147483696"/>
          </pc:sldLayoutMkLst>
        </pc:sldLayoutChg>
        <pc:sldLayoutChg chg="del">
          <pc:chgData name="Mats Necker" userId="2d97bddf-6881-4b42-b7ae-84f5465d8fc5" providerId="ADAL" clId="{AA2D46BA-CB26-4EA5-9AC8-46E2340DA825}" dt="2025-06-15T10:50:34.131" v="493" actId="47"/>
          <pc:sldLayoutMkLst>
            <pc:docMk/>
            <pc:sldMasterMk cId="869504523" sldId="2147483695"/>
            <pc:sldLayoutMk cId="605277222" sldId="2147483697"/>
          </pc:sldLayoutMkLst>
        </pc:sldLayoutChg>
        <pc:sldLayoutChg chg="del">
          <pc:chgData name="Mats Necker" userId="2d97bddf-6881-4b42-b7ae-84f5465d8fc5" providerId="ADAL" clId="{AA2D46BA-CB26-4EA5-9AC8-46E2340DA825}" dt="2025-06-15T10:50:34.131" v="493" actId="47"/>
          <pc:sldLayoutMkLst>
            <pc:docMk/>
            <pc:sldMasterMk cId="869504523" sldId="2147483695"/>
            <pc:sldLayoutMk cId="3424277571" sldId="2147483698"/>
          </pc:sldLayoutMkLst>
        </pc:sldLayoutChg>
        <pc:sldLayoutChg chg="del">
          <pc:chgData name="Mats Necker" userId="2d97bddf-6881-4b42-b7ae-84f5465d8fc5" providerId="ADAL" clId="{AA2D46BA-CB26-4EA5-9AC8-46E2340DA825}" dt="2025-06-15T10:50:34.131" v="493" actId="47"/>
          <pc:sldLayoutMkLst>
            <pc:docMk/>
            <pc:sldMasterMk cId="869504523" sldId="2147483695"/>
            <pc:sldLayoutMk cId="2404633729" sldId="2147483699"/>
          </pc:sldLayoutMkLst>
        </pc:sldLayoutChg>
        <pc:sldLayoutChg chg="del">
          <pc:chgData name="Mats Necker" userId="2d97bddf-6881-4b42-b7ae-84f5465d8fc5" providerId="ADAL" clId="{AA2D46BA-CB26-4EA5-9AC8-46E2340DA825}" dt="2025-06-15T10:50:34.131" v="493" actId="47"/>
          <pc:sldLayoutMkLst>
            <pc:docMk/>
            <pc:sldMasterMk cId="869504523" sldId="2147483695"/>
            <pc:sldLayoutMk cId="3807998900" sldId="2147483700"/>
          </pc:sldLayoutMkLst>
        </pc:sldLayoutChg>
        <pc:sldLayoutChg chg="del">
          <pc:chgData name="Mats Necker" userId="2d97bddf-6881-4b42-b7ae-84f5465d8fc5" providerId="ADAL" clId="{AA2D46BA-CB26-4EA5-9AC8-46E2340DA825}" dt="2025-06-15T10:50:34.131" v="493" actId="47"/>
          <pc:sldLayoutMkLst>
            <pc:docMk/>
            <pc:sldMasterMk cId="869504523" sldId="2147483695"/>
            <pc:sldLayoutMk cId="710371323" sldId="2147483701"/>
          </pc:sldLayoutMkLst>
        </pc:sldLayoutChg>
        <pc:sldLayoutChg chg="del">
          <pc:chgData name="Mats Necker" userId="2d97bddf-6881-4b42-b7ae-84f5465d8fc5" providerId="ADAL" clId="{AA2D46BA-CB26-4EA5-9AC8-46E2340DA825}" dt="2025-06-15T10:50:34.131" v="493" actId="47"/>
          <pc:sldLayoutMkLst>
            <pc:docMk/>
            <pc:sldMasterMk cId="869504523" sldId="2147483695"/>
            <pc:sldLayoutMk cId="713502267" sldId="2147483702"/>
          </pc:sldLayoutMkLst>
        </pc:sldLayoutChg>
        <pc:sldLayoutChg chg="del">
          <pc:chgData name="Mats Necker" userId="2d97bddf-6881-4b42-b7ae-84f5465d8fc5" providerId="ADAL" clId="{AA2D46BA-CB26-4EA5-9AC8-46E2340DA825}" dt="2025-06-15T10:50:34.131" v="493" actId="47"/>
          <pc:sldLayoutMkLst>
            <pc:docMk/>
            <pc:sldMasterMk cId="869504523" sldId="2147483695"/>
            <pc:sldLayoutMk cId="2120792713" sldId="2147483703"/>
          </pc:sldLayoutMkLst>
        </pc:sldLayoutChg>
        <pc:sldLayoutChg chg="del">
          <pc:chgData name="Mats Necker" userId="2d97bddf-6881-4b42-b7ae-84f5465d8fc5" providerId="ADAL" clId="{AA2D46BA-CB26-4EA5-9AC8-46E2340DA825}" dt="2025-06-15T10:50:34.131" v="493" actId="47"/>
          <pc:sldLayoutMkLst>
            <pc:docMk/>
            <pc:sldMasterMk cId="869504523" sldId="2147483695"/>
            <pc:sldLayoutMk cId="2526441203" sldId="2147483704"/>
          </pc:sldLayoutMkLst>
        </pc:sldLayoutChg>
        <pc:sldLayoutChg chg="del">
          <pc:chgData name="Mats Necker" userId="2d97bddf-6881-4b42-b7ae-84f5465d8fc5" providerId="ADAL" clId="{AA2D46BA-CB26-4EA5-9AC8-46E2340DA825}" dt="2025-06-15T10:50:34.131" v="493" actId="47"/>
          <pc:sldLayoutMkLst>
            <pc:docMk/>
            <pc:sldMasterMk cId="869504523" sldId="2147483695"/>
            <pc:sldLayoutMk cId="1969049312" sldId="2147483705"/>
          </pc:sldLayoutMkLst>
        </pc:sldLayoutChg>
        <pc:sldLayoutChg chg="del">
          <pc:chgData name="Mats Necker" userId="2d97bddf-6881-4b42-b7ae-84f5465d8fc5" providerId="ADAL" clId="{AA2D46BA-CB26-4EA5-9AC8-46E2340DA825}" dt="2025-06-15T10:50:34.131" v="493" actId="47"/>
          <pc:sldLayoutMkLst>
            <pc:docMk/>
            <pc:sldMasterMk cId="869504523" sldId="2147483695"/>
            <pc:sldLayoutMk cId="1827061506" sldId="2147483706"/>
          </pc:sldLayoutMkLst>
        </pc:sldLayoutChg>
        <pc:sldLayoutChg chg="del">
          <pc:chgData name="Mats Necker" userId="2d97bddf-6881-4b42-b7ae-84f5465d8fc5" providerId="ADAL" clId="{AA2D46BA-CB26-4EA5-9AC8-46E2340DA825}" dt="2025-06-15T10:50:34.131" v="493" actId="47"/>
          <pc:sldLayoutMkLst>
            <pc:docMk/>
            <pc:sldMasterMk cId="869504523" sldId="2147483695"/>
            <pc:sldLayoutMk cId="3008060053" sldId="2147483707"/>
          </pc:sldLayoutMkLst>
        </pc:sldLayoutChg>
        <pc:sldLayoutChg chg="del">
          <pc:chgData name="Mats Necker" userId="2d97bddf-6881-4b42-b7ae-84f5465d8fc5" providerId="ADAL" clId="{AA2D46BA-CB26-4EA5-9AC8-46E2340DA825}" dt="2025-06-15T10:50:34.131" v="493" actId="47"/>
          <pc:sldLayoutMkLst>
            <pc:docMk/>
            <pc:sldMasterMk cId="869504523" sldId="2147483695"/>
            <pc:sldLayoutMk cId="3761805700" sldId="2147483708"/>
          </pc:sldLayoutMkLst>
        </pc:sldLayoutChg>
        <pc:sldLayoutChg chg="del">
          <pc:chgData name="Mats Necker" userId="2d97bddf-6881-4b42-b7ae-84f5465d8fc5" providerId="ADAL" clId="{AA2D46BA-CB26-4EA5-9AC8-46E2340DA825}" dt="2025-06-15T10:50:34.131" v="493" actId="47"/>
          <pc:sldLayoutMkLst>
            <pc:docMk/>
            <pc:sldMasterMk cId="869504523" sldId="2147483695"/>
            <pc:sldLayoutMk cId="2076649727" sldId="2147483709"/>
          </pc:sldLayoutMkLst>
        </pc:sldLayoutChg>
        <pc:sldLayoutChg chg="del">
          <pc:chgData name="Mats Necker" userId="2d97bddf-6881-4b42-b7ae-84f5465d8fc5" providerId="ADAL" clId="{AA2D46BA-CB26-4EA5-9AC8-46E2340DA825}" dt="2025-06-15T10:50:34.131" v="493" actId="47"/>
          <pc:sldLayoutMkLst>
            <pc:docMk/>
            <pc:sldMasterMk cId="869504523" sldId="2147483695"/>
            <pc:sldLayoutMk cId="3908016386" sldId="2147483711"/>
          </pc:sldLayoutMkLst>
        </pc:sldLayoutChg>
      </pc:sldMasterChg>
      <pc:sldMasterChg chg="del delSldLayout">
        <pc:chgData name="Mats Necker" userId="2d97bddf-6881-4b42-b7ae-84f5465d8fc5" providerId="ADAL" clId="{AA2D46BA-CB26-4EA5-9AC8-46E2340DA825}" dt="2025-06-15T10:50:34.131" v="493" actId="47"/>
        <pc:sldMasterMkLst>
          <pc:docMk/>
          <pc:sldMasterMk cId="1154755535" sldId="2147483712"/>
        </pc:sldMasterMkLst>
        <pc:sldLayoutChg chg="del">
          <pc:chgData name="Mats Necker" userId="2d97bddf-6881-4b42-b7ae-84f5465d8fc5" providerId="ADAL" clId="{AA2D46BA-CB26-4EA5-9AC8-46E2340DA825}" dt="2025-06-15T10:50:34.131" v="493" actId="47"/>
          <pc:sldLayoutMkLst>
            <pc:docMk/>
            <pc:sldMasterMk cId="1154755535" sldId="2147483712"/>
            <pc:sldLayoutMk cId="4072612440" sldId="2147483713"/>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4164675310" sldId="2147483714"/>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1329512877" sldId="2147483715"/>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3343772612" sldId="2147483716"/>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3543094382" sldId="2147483717"/>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1409619867" sldId="2147483718"/>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1284280248" sldId="2147483719"/>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1756558459" sldId="2147483720"/>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1253678277" sldId="2147483721"/>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169128522" sldId="2147483722"/>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3692429275" sldId="2147483723"/>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2502322023" sldId="2147483724"/>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1664485397" sldId="2147483725"/>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478930787" sldId="2147483726"/>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4149505243" sldId="2147483727"/>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2462240283" sldId="2147483728"/>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1960405106" sldId="2147483729"/>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170858012" sldId="2147483730"/>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2588669062" sldId="2147483731"/>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3683743031" sldId="2147483732"/>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773259171" sldId="2147483733"/>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3214404789" sldId="2147483734"/>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1938926384" sldId="2147483735"/>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664049023" sldId="2147483736"/>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2095451495" sldId="2147483737"/>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245808694" sldId="2147483738"/>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1923384550" sldId="2147483739"/>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2607334197" sldId="2147483740"/>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2693439429" sldId="2147483741"/>
          </pc:sldLayoutMkLst>
        </pc:sldLayoutChg>
        <pc:sldLayoutChg chg="del">
          <pc:chgData name="Mats Necker" userId="2d97bddf-6881-4b42-b7ae-84f5465d8fc5" providerId="ADAL" clId="{AA2D46BA-CB26-4EA5-9AC8-46E2340DA825}" dt="2025-06-15T10:50:34.131" v="493" actId="47"/>
          <pc:sldLayoutMkLst>
            <pc:docMk/>
            <pc:sldMasterMk cId="1154755535" sldId="2147483712"/>
            <pc:sldLayoutMk cId="3125533875" sldId="2147483742"/>
          </pc:sldLayoutMkLst>
        </pc:sldLayoutChg>
      </pc:sldMasterChg>
      <pc:sldMasterChg chg="del delSldLayout">
        <pc:chgData name="Mats Necker" userId="2d97bddf-6881-4b42-b7ae-84f5465d8fc5" providerId="ADAL" clId="{AA2D46BA-CB26-4EA5-9AC8-46E2340DA825}" dt="2025-06-15T10:50:34.131" v="493" actId="47"/>
        <pc:sldMasterMkLst>
          <pc:docMk/>
          <pc:sldMasterMk cId="1274101997" sldId="2147483746"/>
        </pc:sldMasterMkLst>
        <pc:sldLayoutChg chg="del">
          <pc:chgData name="Mats Necker" userId="2d97bddf-6881-4b42-b7ae-84f5465d8fc5" providerId="ADAL" clId="{AA2D46BA-CB26-4EA5-9AC8-46E2340DA825}" dt="2025-06-15T10:50:34.131" v="493" actId="47"/>
          <pc:sldLayoutMkLst>
            <pc:docMk/>
            <pc:sldMasterMk cId="1274101997" sldId="2147483746"/>
            <pc:sldLayoutMk cId="1006170950" sldId="2147483747"/>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2815434611" sldId="2147483748"/>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1948214448" sldId="2147483749"/>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2280049414" sldId="2147483750"/>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1329185582" sldId="2147483751"/>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2583643894" sldId="2147483752"/>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3120012922" sldId="2147483753"/>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714952633" sldId="2147483754"/>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1332654934" sldId="2147483755"/>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737867962" sldId="2147483756"/>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685093397" sldId="2147483757"/>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600714028" sldId="2147483758"/>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3670032477" sldId="2147483759"/>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487253065" sldId="2147483760"/>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2929411575" sldId="2147483761"/>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2574336689" sldId="2147483762"/>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2237959842" sldId="2147483763"/>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2046942029" sldId="2147483764"/>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2270574006" sldId="2147483765"/>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657630144" sldId="2147483766"/>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238272291" sldId="2147483767"/>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2711364250" sldId="2147483768"/>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57746899" sldId="2147483769"/>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1321780819" sldId="2147483770"/>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1820010321" sldId="2147483771"/>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2863191451" sldId="2147483772"/>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1476107567" sldId="2147483773"/>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3177137469" sldId="2147483774"/>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778361971" sldId="2147483775"/>
          </pc:sldLayoutMkLst>
        </pc:sldLayoutChg>
        <pc:sldLayoutChg chg="del">
          <pc:chgData name="Mats Necker" userId="2d97bddf-6881-4b42-b7ae-84f5465d8fc5" providerId="ADAL" clId="{AA2D46BA-CB26-4EA5-9AC8-46E2340DA825}" dt="2025-06-15T10:50:34.131" v="493" actId="47"/>
          <pc:sldLayoutMkLst>
            <pc:docMk/>
            <pc:sldMasterMk cId="1274101997" sldId="2147483746"/>
            <pc:sldLayoutMk cId="1521346697" sldId="2147483776"/>
          </pc:sldLayoutMkLst>
        </pc:sldLayoutChg>
      </pc:sldMasterChg>
      <pc:sldMasterChg chg="delSp mod">
        <pc:chgData name="Mats Necker" userId="2d97bddf-6881-4b42-b7ae-84f5465d8fc5" providerId="ADAL" clId="{AA2D46BA-CB26-4EA5-9AC8-46E2340DA825}" dt="2025-06-15T12:18:16.355" v="728" actId="478"/>
        <pc:sldMasterMkLst>
          <pc:docMk/>
          <pc:sldMasterMk cId="796855307" sldId="2147483856"/>
        </pc:sldMasterMkLst>
        <pc:picChg chg="del">
          <ac:chgData name="Mats Necker" userId="2d97bddf-6881-4b42-b7ae-84f5465d8fc5" providerId="ADAL" clId="{AA2D46BA-CB26-4EA5-9AC8-46E2340DA825}" dt="2025-06-15T12:18:16.355" v="728" actId="478"/>
          <ac:picMkLst>
            <pc:docMk/>
            <pc:sldMasterMk cId="796855307" sldId="2147483856"/>
            <ac:picMk id="8" creationId="{721C5836-88B8-2297-8B66-2633FAF41CCE}"/>
          </ac:picMkLst>
        </pc:picChg>
      </pc:sldMasterChg>
    </pc:docChg>
  </pc:docChgLst>
  <pc:docChgLst>
    <pc:chgData name="Ray Glasheen" userId="c67fd889-8470-4165-8569-8911e7ff9a0a" providerId="ADAL" clId="{7A91267B-E819-0043-ACFE-BB49320FD515}"/>
    <pc:docChg chg="delSld modSld modMainMaster">
      <pc:chgData name="Ray Glasheen" userId="c67fd889-8470-4165-8569-8911e7ff9a0a" providerId="ADAL" clId="{7A91267B-E819-0043-ACFE-BB49320FD515}" dt="2025-03-28T17:27:44.495" v="70"/>
      <pc:docMkLst>
        <pc:docMk/>
      </pc:docMkLst>
      <pc:sldChg chg="setBg modNotesTx">
        <pc:chgData name="Ray Glasheen" userId="c67fd889-8470-4165-8569-8911e7ff9a0a" providerId="ADAL" clId="{7A91267B-E819-0043-ACFE-BB49320FD515}" dt="2025-03-28T17:26:27.836" v="60"/>
        <pc:sldMkLst>
          <pc:docMk/>
          <pc:sldMk cId="3080557386" sldId="256"/>
        </pc:sldMkLst>
      </pc:sldChg>
      <pc:sldChg chg="modSp mod setBg">
        <pc:chgData name="Ray Glasheen" userId="c67fd889-8470-4165-8569-8911e7ff9a0a" providerId="ADAL" clId="{7A91267B-E819-0043-ACFE-BB49320FD515}" dt="2025-03-28T15:23:09.461" v="11" actId="207"/>
        <pc:sldMkLst>
          <pc:docMk/>
          <pc:sldMk cId="350046711" sldId="258"/>
        </pc:sldMkLst>
        <pc:spChg chg="mod">
          <ac:chgData name="Ray Glasheen" userId="c67fd889-8470-4165-8569-8911e7ff9a0a" providerId="ADAL" clId="{7A91267B-E819-0043-ACFE-BB49320FD515}" dt="2025-03-28T15:23:09.461" v="11" actId="207"/>
          <ac:spMkLst>
            <pc:docMk/>
            <pc:sldMk cId="350046711" sldId="258"/>
            <ac:spMk id="3" creationId="{43EEEF1E-D858-9C47-9A95-2D236BFD2F31}"/>
          </ac:spMkLst>
        </pc:spChg>
      </pc:sldChg>
      <pc:sldChg chg="modSp mod setBg">
        <pc:chgData name="Ray Glasheen" userId="c67fd889-8470-4165-8569-8911e7ff9a0a" providerId="ADAL" clId="{7A91267B-E819-0043-ACFE-BB49320FD515}" dt="2025-03-28T15:31:53.063" v="50" actId="207"/>
        <pc:sldMkLst>
          <pc:docMk/>
          <pc:sldMk cId="1474078492" sldId="261"/>
        </pc:sldMkLst>
      </pc:sldChg>
      <pc:sldChg chg="modSp mod setBg">
        <pc:chgData name="Ray Glasheen" userId="c67fd889-8470-4165-8569-8911e7ff9a0a" providerId="ADAL" clId="{7A91267B-E819-0043-ACFE-BB49320FD515}" dt="2025-03-28T15:31:58.729" v="52" actId="207"/>
        <pc:sldMkLst>
          <pc:docMk/>
          <pc:sldMk cId="1157289511" sldId="262"/>
        </pc:sldMkLst>
      </pc:sldChg>
      <pc:sldChg chg="setBg">
        <pc:chgData name="Ray Glasheen" userId="c67fd889-8470-4165-8569-8911e7ff9a0a" providerId="ADAL" clId="{7A91267B-E819-0043-ACFE-BB49320FD515}" dt="2025-03-28T15:31:19.626" v="45"/>
        <pc:sldMkLst>
          <pc:docMk/>
          <pc:sldMk cId="3326974690" sldId="263"/>
        </pc:sldMkLst>
      </pc:sldChg>
      <pc:sldChg chg="modSp mod setBg">
        <pc:chgData name="Ray Glasheen" userId="c67fd889-8470-4165-8569-8911e7ff9a0a" providerId="ADAL" clId="{7A91267B-E819-0043-ACFE-BB49320FD515}" dt="2025-03-28T15:32:10.595" v="54" actId="207"/>
        <pc:sldMkLst>
          <pc:docMk/>
          <pc:sldMk cId="3577289732" sldId="264"/>
        </pc:sldMkLst>
      </pc:sldChg>
      <pc:sldChg chg="modSp mod setBg">
        <pc:chgData name="Ray Glasheen" userId="c67fd889-8470-4165-8569-8911e7ff9a0a" providerId="ADAL" clId="{7A91267B-E819-0043-ACFE-BB49320FD515}" dt="2025-03-28T15:32:20.128" v="56" actId="207"/>
        <pc:sldMkLst>
          <pc:docMk/>
          <pc:sldMk cId="2735981974" sldId="265"/>
        </pc:sldMkLst>
      </pc:sldChg>
      <pc:sldChg chg="modSp mod setBg">
        <pc:chgData name="Ray Glasheen" userId="c67fd889-8470-4165-8569-8911e7ff9a0a" providerId="ADAL" clId="{7A91267B-E819-0043-ACFE-BB49320FD515}" dt="2025-03-28T15:32:23.062" v="57" actId="207"/>
        <pc:sldMkLst>
          <pc:docMk/>
          <pc:sldMk cId="998035033" sldId="266"/>
        </pc:sldMkLst>
      </pc:sldChg>
      <pc:sldChg chg="modSp mod setBg">
        <pc:chgData name="Ray Glasheen" userId="c67fd889-8470-4165-8569-8911e7ff9a0a" providerId="ADAL" clId="{7A91267B-E819-0043-ACFE-BB49320FD515}" dt="2025-03-28T15:27:03.910" v="14"/>
        <pc:sldMkLst>
          <pc:docMk/>
          <pc:sldMk cId="391276983" sldId="267"/>
        </pc:sldMkLst>
      </pc:sldChg>
      <pc:sldChg chg="modSp mod setBg">
        <pc:chgData name="Ray Glasheen" userId="c67fd889-8470-4165-8569-8911e7ff9a0a" providerId="ADAL" clId="{7A91267B-E819-0043-ACFE-BB49320FD515}" dt="2025-03-28T15:31:55.762" v="51" actId="207"/>
        <pc:sldMkLst>
          <pc:docMk/>
          <pc:sldMk cId="1510906715" sldId="268"/>
        </pc:sldMkLst>
      </pc:sldChg>
      <pc:sldChg chg="modSp mod setBg">
        <pc:chgData name="Ray Glasheen" userId="c67fd889-8470-4165-8569-8911e7ff9a0a" providerId="ADAL" clId="{7A91267B-E819-0043-ACFE-BB49320FD515}" dt="2025-03-28T15:32:04.262" v="53" actId="207"/>
        <pc:sldMkLst>
          <pc:docMk/>
          <pc:sldMk cId="2444015328" sldId="269"/>
        </pc:sldMkLst>
      </pc:sldChg>
      <pc:sldChg chg="modSp mod setBg">
        <pc:chgData name="Ray Glasheen" userId="c67fd889-8470-4165-8569-8911e7ff9a0a" providerId="ADAL" clId="{7A91267B-E819-0043-ACFE-BB49320FD515}" dt="2025-03-28T15:32:15.993" v="55" actId="207"/>
        <pc:sldMkLst>
          <pc:docMk/>
          <pc:sldMk cId="656950007" sldId="270"/>
        </pc:sldMkLst>
      </pc:sldChg>
      <pc:sldChg chg="setBg">
        <pc:chgData name="Ray Glasheen" userId="c67fd889-8470-4165-8569-8911e7ff9a0a" providerId="ADAL" clId="{7A91267B-E819-0043-ACFE-BB49320FD515}" dt="2025-03-28T17:26:34.871" v="62"/>
        <pc:sldMkLst>
          <pc:docMk/>
          <pc:sldMk cId="3898693924" sldId="271"/>
        </pc:sldMkLst>
      </pc:sldChg>
      <pc:sldChg chg="del setBg">
        <pc:chgData name="Ray Glasheen" userId="c67fd889-8470-4165-8569-8911e7ff9a0a" providerId="ADAL" clId="{7A91267B-E819-0043-ACFE-BB49320FD515}" dt="2025-03-28T16:35:09.157" v="58" actId="2696"/>
        <pc:sldMkLst>
          <pc:docMk/>
          <pc:sldMk cId="1436824444" sldId="272"/>
        </pc:sldMkLst>
      </pc:sldChg>
      <pc:sldMasterChg chg="setBg modSldLayout">
        <pc:chgData name="Ray Glasheen" userId="c67fd889-8470-4165-8569-8911e7ff9a0a" providerId="ADAL" clId="{7A91267B-E819-0043-ACFE-BB49320FD515}" dt="2025-03-28T17:27:24.237" v="66"/>
        <pc:sldMasterMkLst>
          <pc:docMk/>
          <pc:sldMasterMk cId="2281765972" sldId="2147483678"/>
        </pc:sldMasterMkLst>
        <pc:sldLayoutChg chg="setBg">
          <pc:chgData name="Ray Glasheen" userId="c67fd889-8470-4165-8569-8911e7ff9a0a" providerId="ADAL" clId="{7A91267B-E819-0043-ACFE-BB49320FD515}" dt="2025-03-28T17:27:24.237" v="66"/>
          <pc:sldLayoutMkLst>
            <pc:docMk/>
            <pc:sldMasterMk cId="2281765972" sldId="2147483678"/>
            <pc:sldLayoutMk cId="2898312491" sldId="2147483679"/>
          </pc:sldLayoutMkLst>
        </pc:sldLayoutChg>
      </pc:sldMasterChg>
      <pc:sldMasterChg chg="setBg modSldLayout">
        <pc:chgData name="Ray Glasheen" userId="c67fd889-8470-4165-8569-8911e7ff9a0a" providerId="ADAL" clId="{7A91267B-E819-0043-ACFE-BB49320FD515}" dt="2025-03-28T15:27:55.536" v="20" actId="207"/>
        <pc:sldMasterMkLst>
          <pc:docMk/>
          <pc:sldMasterMk cId="4189170703" sldId="2147483680"/>
        </pc:sldMasterMkLst>
        <pc:sldLayoutChg chg="modSp">
          <pc:chgData name="Ray Glasheen" userId="c67fd889-8470-4165-8569-8911e7ff9a0a" providerId="ADAL" clId="{7A91267B-E819-0043-ACFE-BB49320FD515}" dt="2025-03-28T15:27:55.536" v="20" actId="207"/>
          <pc:sldLayoutMkLst>
            <pc:docMk/>
            <pc:sldMasterMk cId="4189170703" sldId="2147483680"/>
            <pc:sldLayoutMk cId="1131539201" sldId="2147483681"/>
          </pc:sldLayoutMkLst>
          <pc:spChg chg="mod">
            <ac:chgData name="Ray Glasheen" userId="c67fd889-8470-4165-8569-8911e7ff9a0a" providerId="ADAL" clId="{7A91267B-E819-0043-ACFE-BB49320FD515}" dt="2025-03-28T15:27:55.536" v="20" actId="207"/>
            <ac:spMkLst>
              <pc:docMk/>
              <pc:sldMasterMk cId="4189170703" sldId="2147483680"/>
              <pc:sldLayoutMk cId="1131539201" sldId="2147483681"/>
              <ac:spMk id="15" creationId="{091E24DE-EFB1-0B46-A1A5-D4A0F86E2C80}"/>
            </ac:spMkLst>
          </pc:spChg>
        </pc:sldLayoutChg>
      </pc:sldMasterChg>
      <pc:sldMasterChg chg="setBg modSldLayout">
        <pc:chgData name="Ray Glasheen" userId="c67fd889-8470-4165-8569-8911e7ff9a0a" providerId="ADAL" clId="{7A91267B-E819-0043-ACFE-BB49320FD515}" dt="2025-03-28T15:29:15.430" v="38" actId="207"/>
        <pc:sldMasterMkLst>
          <pc:docMk/>
          <pc:sldMasterMk cId="1758291486" sldId="2147483682"/>
        </pc:sldMasterMkLst>
        <pc:sldLayoutChg chg="modSp setBg">
          <pc:chgData name="Ray Glasheen" userId="c67fd889-8470-4165-8569-8911e7ff9a0a" providerId="ADAL" clId="{7A91267B-E819-0043-ACFE-BB49320FD515}" dt="2025-03-28T15:28:15.796" v="25" actId="207"/>
          <pc:sldLayoutMkLst>
            <pc:docMk/>
            <pc:sldMasterMk cId="1758291486" sldId="2147483682"/>
            <pc:sldLayoutMk cId="4187323503" sldId="2147483683"/>
          </pc:sldLayoutMkLst>
          <pc:spChg chg="mod">
            <ac:chgData name="Ray Glasheen" userId="c67fd889-8470-4165-8569-8911e7ff9a0a" providerId="ADAL" clId="{7A91267B-E819-0043-ACFE-BB49320FD515}" dt="2025-03-28T15:28:15.796" v="25" actId="207"/>
            <ac:spMkLst>
              <pc:docMk/>
              <pc:sldMasterMk cId="1758291486" sldId="2147483682"/>
              <pc:sldLayoutMk cId="4187323503" sldId="2147483683"/>
              <ac:spMk id="11" creationId="{87A50152-6AF0-CB4C-8223-B92B04D86F3A}"/>
            </ac:spMkLst>
          </pc:spChg>
        </pc:sldLayoutChg>
        <pc:sldLayoutChg chg="modSp">
          <pc:chgData name="Ray Glasheen" userId="c67fd889-8470-4165-8569-8911e7ff9a0a" providerId="ADAL" clId="{7A91267B-E819-0043-ACFE-BB49320FD515}" dt="2025-03-28T15:28:53.161" v="33" actId="207"/>
          <pc:sldLayoutMkLst>
            <pc:docMk/>
            <pc:sldMasterMk cId="1758291486" sldId="2147483682"/>
            <pc:sldLayoutMk cId="1015417581" sldId="2147483687"/>
          </pc:sldLayoutMkLst>
          <pc:spChg chg="mod">
            <ac:chgData name="Ray Glasheen" userId="c67fd889-8470-4165-8569-8911e7ff9a0a" providerId="ADAL" clId="{7A91267B-E819-0043-ACFE-BB49320FD515}" dt="2025-03-28T15:28:53.161" v="33" actId="207"/>
            <ac:spMkLst>
              <pc:docMk/>
              <pc:sldMasterMk cId="1758291486" sldId="2147483682"/>
              <pc:sldLayoutMk cId="1015417581" sldId="2147483687"/>
              <ac:spMk id="6" creationId="{A54FBFB0-DCDC-C848-901F-75B727D01B69}"/>
            </ac:spMkLst>
          </pc:spChg>
        </pc:sldLayoutChg>
        <pc:sldLayoutChg chg="modSp">
          <pc:chgData name="Ray Glasheen" userId="c67fd889-8470-4165-8569-8911e7ff9a0a" providerId="ADAL" clId="{7A91267B-E819-0043-ACFE-BB49320FD515}" dt="2025-03-28T15:29:07.997" v="37" actId="207"/>
          <pc:sldLayoutMkLst>
            <pc:docMk/>
            <pc:sldMasterMk cId="1758291486" sldId="2147483682"/>
            <pc:sldLayoutMk cId="304504484" sldId="2147483688"/>
          </pc:sldLayoutMkLst>
          <pc:spChg chg="mod">
            <ac:chgData name="Ray Glasheen" userId="c67fd889-8470-4165-8569-8911e7ff9a0a" providerId="ADAL" clId="{7A91267B-E819-0043-ACFE-BB49320FD515}" dt="2025-03-28T15:29:07.997" v="37" actId="207"/>
            <ac:spMkLst>
              <pc:docMk/>
              <pc:sldMasterMk cId="1758291486" sldId="2147483682"/>
              <pc:sldLayoutMk cId="304504484" sldId="2147483688"/>
              <ac:spMk id="6" creationId="{1C79D75D-1604-BB44-B1C9-298036D703C2}"/>
            </ac:spMkLst>
          </pc:spChg>
        </pc:sldLayoutChg>
        <pc:sldLayoutChg chg="modSp">
          <pc:chgData name="Ray Glasheen" userId="c67fd889-8470-4165-8569-8911e7ff9a0a" providerId="ADAL" clId="{7A91267B-E819-0043-ACFE-BB49320FD515}" dt="2025-03-28T15:28:33.497" v="29" actId="207"/>
          <pc:sldLayoutMkLst>
            <pc:docMk/>
            <pc:sldMasterMk cId="1758291486" sldId="2147483682"/>
            <pc:sldLayoutMk cId="1999175194" sldId="2147483689"/>
          </pc:sldLayoutMkLst>
          <pc:spChg chg="mod">
            <ac:chgData name="Ray Glasheen" userId="c67fd889-8470-4165-8569-8911e7ff9a0a" providerId="ADAL" clId="{7A91267B-E819-0043-ACFE-BB49320FD515}" dt="2025-03-28T15:28:33.497" v="29" actId="207"/>
            <ac:spMkLst>
              <pc:docMk/>
              <pc:sldMasterMk cId="1758291486" sldId="2147483682"/>
              <pc:sldLayoutMk cId="1999175194" sldId="2147483689"/>
              <ac:spMk id="11" creationId="{87A50152-6AF0-CB4C-8223-B92B04D86F3A}"/>
            </ac:spMkLst>
          </pc:spChg>
        </pc:sldLayoutChg>
        <pc:sldLayoutChg chg="modSp">
          <pc:chgData name="Ray Glasheen" userId="c67fd889-8470-4165-8569-8911e7ff9a0a" providerId="ADAL" clId="{7A91267B-E819-0043-ACFE-BB49320FD515}" dt="2025-03-28T15:29:15.430" v="38" actId="207"/>
          <pc:sldLayoutMkLst>
            <pc:docMk/>
            <pc:sldMasterMk cId="1758291486" sldId="2147483682"/>
            <pc:sldLayoutMk cId="2602732109" sldId="2147483690"/>
          </pc:sldLayoutMkLst>
          <pc:spChg chg="mod">
            <ac:chgData name="Ray Glasheen" userId="c67fd889-8470-4165-8569-8911e7ff9a0a" providerId="ADAL" clId="{7A91267B-E819-0043-ACFE-BB49320FD515}" dt="2025-03-28T15:29:15.430" v="38" actId="207"/>
            <ac:spMkLst>
              <pc:docMk/>
              <pc:sldMasterMk cId="1758291486" sldId="2147483682"/>
              <pc:sldLayoutMk cId="2602732109" sldId="2147483690"/>
              <ac:spMk id="8" creationId="{9ECF72A8-B638-3842-8B60-7DFC3C6C0C79}"/>
            </ac:spMkLst>
          </pc:spChg>
        </pc:sldLayoutChg>
        <pc:sldLayoutChg chg="modSp setBg">
          <pc:chgData name="Ray Glasheen" userId="c67fd889-8470-4165-8569-8911e7ff9a0a" providerId="ADAL" clId="{7A91267B-E819-0043-ACFE-BB49320FD515}" dt="2025-03-28T15:28:28.097" v="28" actId="207"/>
          <pc:sldLayoutMkLst>
            <pc:docMk/>
            <pc:sldMasterMk cId="1758291486" sldId="2147483682"/>
            <pc:sldLayoutMk cId="1865159803" sldId="2147483692"/>
          </pc:sldLayoutMkLst>
          <pc:spChg chg="mod">
            <ac:chgData name="Ray Glasheen" userId="c67fd889-8470-4165-8569-8911e7ff9a0a" providerId="ADAL" clId="{7A91267B-E819-0043-ACFE-BB49320FD515}" dt="2025-03-28T15:28:28.097" v="28" actId="207"/>
            <ac:spMkLst>
              <pc:docMk/>
              <pc:sldMasterMk cId="1758291486" sldId="2147483682"/>
              <pc:sldLayoutMk cId="1865159803" sldId="2147483692"/>
              <ac:spMk id="11" creationId="{87A50152-6AF0-CB4C-8223-B92B04D86F3A}"/>
            </ac:spMkLst>
          </pc:spChg>
        </pc:sldLayoutChg>
        <pc:sldLayoutChg chg="modSp setBg">
          <pc:chgData name="Ray Glasheen" userId="c67fd889-8470-4165-8569-8911e7ff9a0a" providerId="ADAL" clId="{7A91267B-E819-0043-ACFE-BB49320FD515}" dt="2025-03-28T15:28:45.845" v="32"/>
          <pc:sldLayoutMkLst>
            <pc:docMk/>
            <pc:sldMasterMk cId="1758291486" sldId="2147483682"/>
            <pc:sldLayoutMk cId="4070593789" sldId="2147483693"/>
          </pc:sldLayoutMkLst>
          <pc:spChg chg="mod">
            <ac:chgData name="Ray Glasheen" userId="c67fd889-8470-4165-8569-8911e7ff9a0a" providerId="ADAL" clId="{7A91267B-E819-0043-ACFE-BB49320FD515}" dt="2025-03-28T15:28:38.329" v="30" actId="207"/>
            <ac:spMkLst>
              <pc:docMk/>
              <pc:sldMasterMk cId="1758291486" sldId="2147483682"/>
              <pc:sldLayoutMk cId="4070593789" sldId="2147483693"/>
              <ac:spMk id="11" creationId="{87A50152-6AF0-CB4C-8223-B92B04D86F3A}"/>
            </ac:spMkLst>
          </pc:spChg>
        </pc:sldLayoutChg>
        <pc:sldLayoutChg chg="modSp setBg">
          <pc:chgData name="Ray Glasheen" userId="c67fd889-8470-4165-8569-8911e7ff9a0a" providerId="ADAL" clId="{7A91267B-E819-0043-ACFE-BB49320FD515}" dt="2025-03-28T15:29:02.126" v="36"/>
          <pc:sldLayoutMkLst>
            <pc:docMk/>
            <pc:sldMasterMk cId="1758291486" sldId="2147483682"/>
            <pc:sldLayoutMk cId="1038442111" sldId="2147483694"/>
          </pc:sldLayoutMkLst>
          <pc:spChg chg="mod">
            <ac:chgData name="Ray Glasheen" userId="c67fd889-8470-4165-8569-8911e7ff9a0a" providerId="ADAL" clId="{7A91267B-E819-0043-ACFE-BB49320FD515}" dt="2025-03-28T15:28:57.296" v="34" actId="207"/>
            <ac:spMkLst>
              <pc:docMk/>
              <pc:sldMasterMk cId="1758291486" sldId="2147483682"/>
              <pc:sldLayoutMk cId="1038442111" sldId="2147483694"/>
              <ac:spMk id="6" creationId="{A54FBFB0-DCDC-C848-901F-75B727D01B69}"/>
            </ac:spMkLst>
          </pc:spChg>
        </pc:sldLayoutChg>
      </pc:sldMasterChg>
      <pc:sldMasterChg chg="setBg modSldLayout">
        <pc:chgData name="Ray Glasheen" userId="c67fd889-8470-4165-8569-8911e7ff9a0a" providerId="ADAL" clId="{7A91267B-E819-0043-ACFE-BB49320FD515}" dt="2025-03-28T17:27:44.495" v="70"/>
        <pc:sldMasterMkLst>
          <pc:docMk/>
          <pc:sldMasterMk cId="102519618" sldId="2147483684"/>
        </pc:sldMasterMkLst>
        <pc:sldLayoutChg chg="setBg">
          <pc:chgData name="Ray Glasheen" userId="c67fd889-8470-4165-8569-8911e7ff9a0a" providerId="ADAL" clId="{7A91267B-E819-0043-ACFE-BB49320FD515}" dt="2025-03-28T17:27:44.495" v="70"/>
          <pc:sldLayoutMkLst>
            <pc:docMk/>
            <pc:sldMasterMk cId="102519618" sldId="2147483684"/>
            <pc:sldLayoutMk cId="3795906404" sldId="2147483685"/>
          </pc:sldLayoutMkLst>
        </pc:sldLayoutChg>
      </pc:sldMasterChg>
    </pc:docChg>
  </pc:docChgLst>
  <pc:docChgLst>
    <pc:chgData name="Ray Glasheen" userId="785f7a1a-8d11-4bab-9525-84d3cd0677d5" providerId="ADAL" clId="{F197F129-1270-E74F-8CDD-56C4C54B5C87}"/>
    <pc:docChg chg="undo custSel addSld delSld modSld sldOrd delMainMaster modMainMaster">
      <pc:chgData name="Ray Glasheen" userId="785f7a1a-8d11-4bab-9525-84d3cd0677d5" providerId="ADAL" clId="{F197F129-1270-E74F-8CDD-56C4C54B5C87}" dt="2022-05-19T15:14:21.150" v="660" actId="20577"/>
      <pc:docMkLst>
        <pc:docMk/>
      </pc:docMkLst>
      <pc:sldChg chg="modNotesTx">
        <pc:chgData name="Ray Glasheen" userId="785f7a1a-8d11-4bab-9525-84d3cd0677d5" providerId="ADAL" clId="{F197F129-1270-E74F-8CDD-56C4C54B5C87}" dt="2022-05-19T13:37:22.061" v="569" actId="20577"/>
        <pc:sldMkLst>
          <pc:docMk/>
          <pc:sldMk cId="3080557386" sldId="256"/>
        </pc:sldMkLst>
      </pc:sldChg>
      <pc:sldChg chg="addSp delSp modSp modNotesTx">
        <pc:chgData name="Ray Glasheen" userId="785f7a1a-8d11-4bab-9525-84d3cd0677d5" providerId="ADAL" clId="{F197F129-1270-E74F-8CDD-56C4C54B5C87}" dt="2022-05-19T13:37:31.796" v="571" actId="20577"/>
        <pc:sldMkLst>
          <pc:docMk/>
          <pc:sldMk cId="350046711" sldId="258"/>
        </pc:sldMkLst>
      </pc:sldChg>
      <pc:sldChg chg="del">
        <pc:chgData name="Ray Glasheen" userId="785f7a1a-8d11-4bab-9525-84d3cd0677d5" providerId="ADAL" clId="{F197F129-1270-E74F-8CDD-56C4C54B5C87}" dt="2022-05-13T11:47:56.752" v="481" actId="2696"/>
        <pc:sldMkLst>
          <pc:docMk/>
          <pc:sldMk cId="1732964153" sldId="259"/>
        </pc:sldMkLst>
      </pc:sldChg>
      <pc:sldChg chg="modNotesTx">
        <pc:chgData name="Ray Glasheen" userId="785f7a1a-8d11-4bab-9525-84d3cd0677d5" providerId="ADAL" clId="{F197F129-1270-E74F-8CDD-56C4C54B5C87}" dt="2022-05-19T13:37:08.373" v="567" actId="20577"/>
        <pc:sldMkLst>
          <pc:docMk/>
          <pc:sldMk cId="3754779477" sldId="260"/>
        </pc:sldMkLst>
      </pc:sldChg>
      <pc:sldChg chg="modSp add del">
        <pc:chgData name="Ray Glasheen" userId="785f7a1a-8d11-4bab-9525-84d3cd0677d5" providerId="ADAL" clId="{F197F129-1270-E74F-8CDD-56C4C54B5C87}" dt="2022-05-13T09:48:20.507" v="147"/>
        <pc:sldMkLst>
          <pc:docMk/>
          <pc:sldMk cId="356328810" sldId="261"/>
        </pc:sldMkLst>
      </pc:sldChg>
      <pc:sldChg chg="add del">
        <pc:chgData name="Ray Glasheen" userId="785f7a1a-8d11-4bab-9525-84d3cd0677d5" providerId="ADAL" clId="{F197F129-1270-E74F-8CDD-56C4C54B5C87}" dt="2022-05-13T11:31:39.155" v="466" actId="2696"/>
        <pc:sldMkLst>
          <pc:docMk/>
          <pc:sldMk cId="1145655228" sldId="261"/>
        </pc:sldMkLst>
      </pc:sldChg>
      <pc:sldChg chg="add modNotesTx">
        <pc:chgData name="Ray Glasheen" userId="785f7a1a-8d11-4bab-9525-84d3cd0677d5" providerId="ADAL" clId="{F197F129-1270-E74F-8CDD-56C4C54B5C87}" dt="2022-05-19T13:33:18.912" v="520" actId="20577"/>
        <pc:sldMkLst>
          <pc:docMk/>
          <pc:sldMk cId="1474078492" sldId="261"/>
        </pc:sldMkLst>
      </pc:sldChg>
      <pc:sldChg chg="delSp modSp add del">
        <pc:chgData name="Ray Glasheen" userId="785f7a1a-8d11-4bab-9525-84d3cd0677d5" providerId="ADAL" clId="{F197F129-1270-E74F-8CDD-56C4C54B5C87}" dt="2022-05-13T09:45:27.243" v="139" actId="2696"/>
        <pc:sldMkLst>
          <pc:docMk/>
          <pc:sldMk cId="1556058536" sldId="261"/>
        </pc:sldMkLst>
      </pc:sldChg>
      <pc:sldChg chg="modSp add del">
        <pc:chgData name="Ray Glasheen" userId="785f7a1a-8d11-4bab-9525-84d3cd0677d5" providerId="ADAL" clId="{F197F129-1270-E74F-8CDD-56C4C54B5C87}" dt="2022-05-13T09:56:07.812" v="295" actId="2696"/>
        <pc:sldMkLst>
          <pc:docMk/>
          <pc:sldMk cId="2485845054" sldId="261"/>
        </pc:sldMkLst>
      </pc:sldChg>
      <pc:sldChg chg="modSp add del">
        <pc:chgData name="Ray Glasheen" userId="785f7a1a-8d11-4bab-9525-84d3cd0677d5" providerId="ADAL" clId="{F197F129-1270-E74F-8CDD-56C4C54B5C87}" dt="2022-05-13T09:55:45.118" v="219" actId="2696"/>
        <pc:sldMkLst>
          <pc:docMk/>
          <pc:sldMk cId="2655794725" sldId="261"/>
        </pc:sldMkLst>
      </pc:sldChg>
      <pc:sldChg chg="modSp add del">
        <pc:chgData name="Ray Glasheen" userId="785f7a1a-8d11-4bab-9525-84d3cd0677d5" providerId="ADAL" clId="{F197F129-1270-E74F-8CDD-56C4C54B5C87}" dt="2022-05-13T09:59:51.508" v="338" actId="2696"/>
        <pc:sldMkLst>
          <pc:docMk/>
          <pc:sldMk cId="793281866" sldId="262"/>
        </pc:sldMkLst>
      </pc:sldChg>
      <pc:sldChg chg="addSp delSp add addCm delCm modNotesTx">
        <pc:chgData name="Ray Glasheen" userId="785f7a1a-8d11-4bab-9525-84d3cd0677d5" providerId="ADAL" clId="{F197F129-1270-E74F-8CDD-56C4C54B5C87}" dt="2022-05-19T15:14:13.404" v="657" actId="20577"/>
        <pc:sldMkLst>
          <pc:docMk/>
          <pc:sldMk cId="1157289511" sldId="262"/>
        </pc:sldMkLst>
      </pc:sldChg>
      <pc:sldChg chg="modSp add del">
        <pc:chgData name="Ray Glasheen" userId="785f7a1a-8d11-4bab-9525-84d3cd0677d5" providerId="ADAL" clId="{F197F129-1270-E74F-8CDD-56C4C54B5C87}" dt="2022-05-13T11:48:06.069" v="482" actId="2696"/>
        <pc:sldMkLst>
          <pc:docMk/>
          <pc:sldMk cId="1641015065" sldId="262"/>
        </pc:sldMkLst>
      </pc:sldChg>
      <pc:sldChg chg="add del">
        <pc:chgData name="Ray Glasheen" userId="785f7a1a-8d11-4bab-9525-84d3cd0677d5" providerId="ADAL" clId="{F197F129-1270-E74F-8CDD-56C4C54B5C87}" dt="2022-05-13T11:31:35.426" v="461" actId="2696"/>
        <pc:sldMkLst>
          <pc:docMk/>
          <pc:sldMk cId="52726310" sldId="263"/>
        </pc:sldMkLst>
      </pc:sldChg>
      <pc:sldChg chg="add modNotesTx">
        <pc:chgData name="Ray Glasheen" userId="785f7a1a-8d11-4bab-9525-84d3cd0677d5" providerId="ADAL" clId="{F197F129-1270-E74F-8CDD-56C4C54B5C87}" dt="2022-05-19T13:35:48.344" v="539" actId="20577"/>
        <pc:sldMkLst>
          <pc:docMk/>
          <pc:sldMk cId="3326974690" sldId="263"/>
        </pc:sldMkLst>
      </pc:sldChg>
      <pc:sldChg chg="add del">
        <pc:chgData name="Ray Glasheen" userId="785f7a1a-8d11-4bab-9525-84d3cd0677d5" providerId="ADAL" clId="{F197F129-1270-E74F-8CDD-56C4C54B5C87}" dt="2022-05-13T11:48:07.102" v="483" actId="2696"/>
        <pc:sldMkLst>
          <pc:docMk/>
          <pc:sldMk cId="3624383372" sldId="263"/>
        </pc:sldMkLst>
      </pc:sldChg>
      <pc:sldChg chg="add del">
        <pc:chgData name="Ray Glasheen" userId="785f7a1a-8d11-4bab-9525-84d3cd0677d5" providerId="ADAL" clId="{F197F129-1270-E74F-8CDD-56C4C54B5C87}" dt="2022-05-13T11:06:45.473" v="420" actId="2696"/>
        <pc:sldMkLst>
          <pc:docMk/>
          <pc:sldMk cId="1142288865" sldId="264"/>
        </pc:sldMkLst>
      </pc:sldChg>
      <pc:sldChg chg="delSp add del">
        <pc:chgData name="Ray Glasheen" userId="785f7a1a-8d11-4bab-9525-84d3cd0677d5" providerId="ADAL" clId="{F197F129-1270-E74F-8CDD-56C4C54B5C87}" dt="2022-05-13T11:46:32.503" v="478" actId="2696"/>
        <pc:sldMkLst>
          <pc:docMk/>
          <pc:sldMk cId="3233744720" sldId="264"/>
        </pc:sldMkLst>
      </pc:sldChg>
      <pc:sldChg chg="add modNotesTx">
        <pc:chgData name="Ray Glasheen" userId="785f7a1a-8d11-4bab-9525-84d3cd0677d5" providerId="ADAL" clId="{F197F129-1270-E74F-8CDD-56C4C54B5C87}" dt="2022-05-19T13:36:08.743" v="546" actId="20577"/>
        <pc:sldMkLst>
          <pc:docMk/>
          <pc:sldMk cId="3577289732" sldId="264"/>
        </pc:sldMkLst>
      </pc:sldChg>
      <pc:sldChg chg="add modNotesTx">
        <pc:chgData name="Ray Glasheen" userId="785f7a1a-8d11-4bab-9525-84d3cd0677d5" providerId="ADAL" clId="{F197F129-1270-E74F-8CDD-56C4C54B5C87}" dt="2022-05-19T13:36:25.473" v="553" actId="20577"/>
        <pc:sldMkLst>
          <pc:docMk/>
          <pc:sldMk cId="2735981974" sldId="265"/>
        </pc:sldMkLst>
      </pc:sldChg>
      <pc:sldChg chg="add del">
        <pc:chgData name="Ray Glasheen" userId="785f7a1a-8d11-4bab-9525-84d3cd0677d5" providerId="ADAL" clId="{F197F129-1270-E74F-8CDD-56C4C54B5C87}" dt="2022-05-13T11:31:35.430" v="462" actId="2696"/>
        <pc:sldMkLst>
          <pc:docMk/>
          <pc:sldMk cId="3182698794" sldId="265"/>
        </pc:sldMkLst>
      </pc:sldChg>
      <pc:sldChg chg="add del">
        <pc:chgData name="Ray Glasheen" userId="785f7a1a-8d11-4bab-9525-84d3cd0677d5" providerId="ADAL" clId="{F197F129-1270-E74F-8CDD-56C4C54B5C87}" dt="2022-05-13T11:46:32.507" v="479" actId="2696"/>
        <pc:sldMkLst>
          <pc:docMk/>
          <pc:sldMk cId="4007039427" sldId="265"/>
        </pc:sldMkLst>
      </pc:sldChg>
      <pc:sldChg chg="add modNotesTx">
        <pc:chgData name="Ray Glasheen" userId="785f7a1a-8d11-4bab-9525-84d3cd0677d5" providerId="ADAL" clId="{F197F129-1270-E74F-8CDD-56C4C54B5C87}" dt="2022-05-19T13:36:44.341" v="560" actId="20577"/>
        <pc:sldMkLst>
          <pc:docMk/>
          <pc:sldMk cId="998035033" sldId="266"/>
        </pc:sldMkLst>
      </pc:sldChg>
      <pc:sldChg chg="add del">
        <pc:chgData name="Ray Glasheen" userId="785f7a1a-8d11-4bab-9525-84d3cd0677d5" providerId="ADAL" clId="{F197F129-1270-E74F-8CDD-56C4C54B5C87}" dt="2022-05-13T11:31:37.348" v="464" actId="2696"/>
        <pc:sldMkLst>
          <pc:docMk/>
          <pc:sldMk cId="2984089822" sldId="266"/>
        </pc:sldMkLst>
      </pc:sldChg>
      <pc:sldChg chg="add ord modNotesTx">
        <pc:chgData name="Ray Glasheen" userId="785f7a1a-8d11-4bab-9525-84d3cd0677d5" providerId="ADAL" clId="{F197F129-1270-E74F-8CDD-56C4C54B5C87}" dt="2022-05-19T13:32:29.297" v="509" actId="20577"/>
        <pc:sldMkLst>
          <pc:docMk/>
          <pc:sldMk cId="391276983" sldId="267"/>
        </pc:sldMkLst>
      </pc:sldChg>
      <pc:sldChg chg="addSp delSp modSp add del">
        <pc:chgData name="Ray Glasheen" userId="785f7a1a-8d11-4bab-9525-84d3cd0677d5" providerId="ADAL" clId="{F197F129-1270-E74F-8CDD-56C4C54B5C87}" dt="2022-05-13T11:31:36.692" v="463" actId="2696"/>
        <pc:sldMkLst>
          <pc:docMk/>
          <pc:sldMk cId="3761276252" sldId="267"/>
        </pc:sldMkLst>
      </pc:sldChg>
      <pc:sldChg chg="add del">
        <pc:chgData name="Ray Glasheen" userId="785f7a1a-8d11-4bab-9525-84d3cd0677d5" providerId="ADAL" clId="{F197F129-1270-E74F-8CDD-56C4C54B5C87}" dt="2022-05-13T11:31:37.764" v="465" actId="2696"/>
        <pc:sldMkLst>
          <pc:docMk/>
          <pc:sldMk cId="607416747" sldId="268"/>
        </pc:sldMkLst>
      </pc:sldChg>
      <pc:sldChg chg="add modNotesTx">
        <pc:chgData name="Ray Glasheen" userId="785f7a1a-8d11-4bab-9525-84d3cd0677d5" providerId="ADAL" clId="{F197F129-1270-E74F-8CDD-56C4C54B5C87}" dt="2022-05-19T13:44:40.714" v="622" actId="20577"/>
        <pc:sldMkLst>
          <pc:docMk/>
          <pc:sldMk cId="1510906715" sldId="268"/>
        </pc:sldMkLst>
      </pc:sldChg>
      <pc:sldChg chg="add modNotesTx">
        <pc:chgData name="Ray Glasheen" userId="785f7a1a-8d11-4bab-9525-84d3cd0677d5" providerId="ADAL" clId="{F197F129-1270-E74F-8CDD-56C4C54B5C87}" dt="2022-05-19T15:14:21.150" v="660" actId="20577"/>
        <pc:sldMkLst>
          <pc:docMk/>
          <pc:sldMk cId="2444015328" sldId="269"/>
        </pc:sldMkLst>
      </pc:sldChg>
      <pc:sldChg chg="add">
        <pc:chgData name="Ray Glasheen" userId="785f7a1a-8d11-4bab-9525-84d3cd0677d5" providerId="ADAL" clId="{F197F129-1270-E74F-8CDD-56C4C54B5C87}" dt="2022-05-19T15:11:51.992" v="637"/>
        <pc:sldMkLst>
          <pc:docMk/>
          <pc:sldMk cId="656950007" sldId="270"/>
        </pc:sldMkLst>
      </pc:sldChg>
      <pc:sldMasterChg chg="mod addSldLayout delSldLayout modSldLayout sldLayoutOrd">
        <pc:chgData name="Ray Glasheen" userId="785f7a1a-8d11-4bab-9525-84d3cd0677d5" providerId="ADAL" clId="{F197F129-1270-E74F-8CDD-56C4C54B5C87}" dt="2022-05-13T11:47:28.423" v="480" actId="6014"/>
        <pc:sldMasterMkLst>
          <pc:docMk/>
          <pc:sldMasterMk cId="4189170703" sldId="2147483680"/>
        </pc:sldMasterMkLst>
        <pc:sldLayoutChg chg="addSp delSp modSp mod ord">
          <pc:chgData name="Ray Glasheen" userId="785f7a1a-8d11-4bab-9525-84d3cd0677d5" providerId="ADAL" clId="{F197F129-1270-E74F-8CDD-56C4C54B5C87}" dt="2022-05-13T11:47:28.423" v="480" actId="6014"/>
          <pc:sldLayoutMkLst>
            <pc:docMk/>
            <pc:sldMasterMk cId="4189170703" sldId="2147483680"/>
            <pc:sldLayoutMk cId="1131539201" sldId="2147483681"/>
          </pc:sldLayoutMkLst>
        </pc:sldLayoutChg>
        <pc:sldLayoutChg chg="addSp delSp modSp add del mod">
          <pc:chgData name="Ray Glasheen" userId="785f7a1a-8d11-4bab-9525-84d3cd0677d5" providerId="ADAL" clId="{F197F129-1270-E74F-8CDD-56C4C54B5C87}" dt="2022-05-13T10:20:25.582" v="396" actId="2696"/>
          <pc:sldLayoutMkLst>
            <pc:docMk/>
            <pc:sldMasterMk cId="4189170703" sldId="2147483680"/>
            <pc:sldLayoutMk cId="4172567862" sldId="2147483689"/>
          </pc:sldLayoutMkLst>
        </pc:sldLayoutChg>
      </pc:sldMasterChg>
      <pc:sldMasterChg chg="addSp delSp delSldLayout modSldLayout sldLayoutOrd">
        <pc:chgData name="Ray Glasheen" userId="785f7a1a-8d11-4bab-9525-84d3cd0677d5" providerId="ADAL" clId="{F197F129-1270-E74F-8CDD-56C4C54B5C87}" dt="2022-05-19T13:47:40.563" v="635" actId="6014"/>
        <pc:sldMasterMkLst>
          <pc:docMk/>
          <pc:sldMasterMk cId="1758291486" sldId="2147483682"/>
        </pc:sldMasterMkLst>
        <pc:sldLayoutChg chg="addSp delSp modSp mod ord">
          <pc:chgData name="Ray Glasheen" userId="785f7a1a-8d11-4bab-9525-84d3cd0677d5" providerId="ADAL" clId="{F197F129-1270-E74F-8CDD-56C4C54B5C87}" dt="2022-05-19T13:42:01.672" v="592" actId="6014"/>
          <pc:sldLayoutMkLst>
            <pc:docMk/>
            <pc:sldMasterMk cId="1758291486" sldId="2147483682"/>
            <pc:sldLayoutMk cId="4187323503" sldId="2147483683"/>
          </pc:sldLayoutMkLst>
        </pc:sldLayoutChg>
        <pc:sldLayoutChg chg="addSp delSp modSp mod">
          <pc:chgData name="Ray Glasheen" userId="785f7a1a-8d11-4bab-9525-84d3cd0677d5" providerId="ADAL" clId="{F197F129-1270-E74F-8CDD-56C4C54B5C87}" dt="2022-05-13T11:46:10.098" v="475" actId="6014"/>
          <pc:sldLayoutMkLst>
            <pc:docMk/>
            <pc:sldMasterMk cId="1758291486" sldId="2147483682"/>
            <pc:sldLayoutMk cId="2906598798" sldId="2147483686"/>
          </pc:sldLayoutMkLst>
        </pc:sldLayoutChg>
        <pc:sldLayoutChg chg="addSp delSp modSp mod">
          <pc:chgData name="Ray Glasheen" userId="785f7a1a-8d11-4bab-9525-84d3cd0677d5" providerId="ADAL" clId="{F197F129-1270-E74F-8CDD-56C4C54B5C87}" dt="2022-05-19T13:47:25.748" v="634" actId="6014"/>
          <pc:sldLayoutMkLst>
            <pc:docMk/>
            <pc:sldMasterMk cId="1758291486" sldId="2147483682"/>
            <pc:sldLayoutMk cId="1015417581" sldId="2147483687"/>
          </pc:sldLayoutMkLst>
        </pc:sldLayoutChg>
        <pc:sldLayoutChg chg="addSp delSp modSp mod">
          <pc:chgData name="Ray Glasheen" userId="785f7a1a-8d11-4bab-9525-84d3cd0677d5" providerId="ADAL" clId="{F197F129-1270-E74F-8CDD-56C4C54B5C87}" dt="2022-05-13T11:46:00.444" v="473" actId="6014"/>
          <pc:sldLayoutMkLst>
            <pc:docMk/>
            <pc:sldMasterMk cId="1758291486" sldId="2147483682"/>
            <pc:sldLayoutMk cId="304504484" sldId="2147483688"/>
          </pc:sldLayoutMkLst>
        </pc:sldLayoutChg>
        <pc:sldLayoutChg chg="addSp modSp mod">
          <pc:chgData name="Ray Glasheen" userId="785f7a1a-8d11-4bab-9525-84d3cd0677d5" providerId="ADAL" clId="{F197F129-1270-E74F-8CDD-56C4C54B5C87}" dt="2022-05-19T13:46:15.062" v="628" actId="6014"/>
          <pc:sldLayoutMkLst>
            <pc:docMk/>
            <pc:sldMasterMk cId="1758291486" sldId="2147483682"/>
            <pc:sldLayoutMk cId="1999175194" sldId="2147483689"/>
          </pc:sldLayoutMkLst>
        </pc:sldLayoutChg>
        <pc:sldLayoutChg chg="addSp delSp modSp mod">
          <pc:chgData name="Ray Glasheen" userId="785f7a1a-8d11-4bab-9525-84d3cd0677d5" providerId="ADAL" clId="{F197F129-1270-E74F-8CDD-56C4C54B5C87}" dt="2022-05-13T11:20:21.010" v="459" actId="6014"/>
          <pc:sldLayoutMkLst>
            <pc:docMk/>
            <pc:sldMasterMk cId="1758291486" sldId="2147483682"/>
            <pc:sldLayoutMk cId="2602732109" sldId="2147483690"/>
          </pc:sldLayoutMkLst>
        </pc:sldLayoutChg>
        <pc:sldLayoutChg chg="del mod">
          <pc:chgData name="Ray Glasheen" userId="785f7a1a-8d11-4bab-9525-84d3cd0677d5" providerId="ADAL" clId="{F197F129-1270-E74F-8CDD-56C4C54B5C87}" dt="2022-05-13T11:45:40.011" v="471" actId="2696"/>
          <pc:sldLayoutMkLst>
            <pc:docMk/>
            <pc:sldMasterMk cId="1758291486" sldId="2147483682"/>
            <pc:sldLayoutMk cId="170418018" sldId="2147483691"/>
          </pc:sldLayoutMkLst>
        </pc:sldLayoutChg>
        <pc:sldLayoutChg chg="modSp setBg">
          <pc:chgData name="Ray Glasheen" userId="785f7a1a-8d11-4bab-9525-84d3cd0677d5" providerId="ADAL" clId="{F197F129-1270-E74F-8CDD-56C4C54B5C87}" dt="2022-05-19T13:45:55.528" v="627" actId="207"/>
          <pc:sldLayoutMkLst>
            <pc:docMk/>
            <pc:sldMasterMk cId="1758291486" sldId="2147483682"/>
            <pc:sldLayoutMk cId="1865159803" sldId="2147483692"/>
          </pc:sldLayoutMkLst>
        </pc:sldLayoutChg>
        <pc:sldLayoutChg chg="modSp mod setBg">
          <pc:chgData name="Ray Glasheen" userId="785f7a1a-8d11-4bab-9525-84d3cd0677d5" providerId="ADAL" clId="{F197F129-1270-E74F-8CDD-56C4C54B5C87}" dt="2022-05-19T13:46:28.103" v="629" actId="6014"/>
          <pc:sldLayoutMkLst>
            <pc:docMk/>
            <pc:sldMasterMk cId="1758291486" sldId="2147483682"/>
            <pc:sldLayoutMk cId="4070593789" sldId="2147483693"/>
          </pc:sldLayoutMkLst>
        </pc:sldLayoutChg>
        <pc:sldLayoutChg chg="modSp mod setBg">
          <pc:chgData name="Ray Glasheen" userId="785f7a1a-8d11-4bab-9525-84d3cd0677d5" providerId="ADAL" clId="{F197F129-1270-E74F-8CDD-56C4C54B5C87}" dt="2022-05-19T13:47:40.563" v="635" actId="6014"/>
          <pc:sldLayoutMkLst>
            <pc:docMk/>
            <pc:sldMasterMk cId="1758291486" sldId="2147483682"/>
            <pc:sldLayoutMk cId="1038442111" sldId="2147483694"/>
          </pc:sldLayoutMkLst>
        </pc:sldLayoutChg>
      </pc:sldMasterChg>
      <pc:sldMasterChg chg="addSp delSp modSp del mod setBg delSldLayout">
        <pc:chgData name="Ray Glasheen" userId="785f7a1a-8d11-4bab-9525-84d3cd0677d5" providerId="ADAL" clId="{F197F129-1270-E74F-8CDD-56C4C54B5C87}" dt="2022-05-19T13:43:49.444" v="602" actId="2696"/>
        <pc:sldMasterMkLst>
          <pc:docMk/>
          <pc:sldMasterMk cId="2992527240" sldId="2147483691"/>
        </pc:sldMasterMkLst>
        <pc:sldLayoutChg chg="del">
          <pc:chgData name="Ray Glasheen" userId="785f7a1a-8d11-4bab-9525-84d3cd0677d5" providerId="ADAL" clId="{F197F129-1270-E74F-8CDD-56C4C54B5C87}" dt="2022-05-19T13:39:19.423" v="582" actId="2696"/>
          <pc:sldLayoutMkLst>
            <pc:docMk/>
            <pc:sldMasterMk cId="2992527240" sldId="2147483691"/>
            <pc:sldLayoutMk cId="96643499" sldId="2147483692"/>
          </pc:sldLayoutMkLst>
        </pc:sldLayoutChg>
        <pc:sldLayoutChg chg="del">
          <pc:chgData name="Ray Glasheen" userId="785f7a1a-8d11-4bab-9525-84d3cd0677d5" providerId="ADAL" clId="{F197F129-1270-E74F-8CDD-56C4C54B5C87}" dt="2022-05-19T13:39:19.424" v="583" actId="2696"/>
          <pc:sldLayoutMkLst>
            <pc:docMk/>
            <pc:sldMasterMk cId="2992527240" sldId="2147483691"/>
            <pc:sldLayoutMk cId="986607822" sldId="2147483693"/>
          </pc:sldLayoutMkLst>
        </pc:sldLayoutChg>
        <pc:sldLayoutChg chg="del">
          <pc:chgData name="Ray Glasheen" userId="785f7a1a-8d11-4bab-9525-84d3cd0677d5" providerId="ADAL" clId="{F197F129-1270-E74F-8CDD-56C4C54B5C87}" dt="2022-05-19T13:39:16.976" v="577" actId="2696"/>
          <pc:sldLayoutMkLst>
            <pc:docMk/>
            <pc:sldMasterMk cId="2992527240" sldId="2147483691"/>
            <pc:sldLayoutMk cId="2077719814" sldId="2147483694"/>
          </pc:sldLayoutMkLst>
        </pc:sldLayoutChg>
        <pc:sldLayoutChg chg="del">
          <pc:chgData name="Ray Glasheen" userId="785f7a1a-8d11-4bab-9525-84d3cd0677d5" providerId="ADAL" clId="{F197F129-1270-E74F-8CDD-56C4C54B5C87}" dt="2022-05-19T13:39:16.977" v="578" actId="2696"/>
          <pc:sldLayoutMkLst>
            <pc:docMk/>
            <pc:sldMasterMk cId="2992527240" sldId="2147483691"/>
            <pc:sldLayoutMk cId="1179450923" sldId="2147483695"/>
          </pc:sldLayoutMkLst>
        </pc:sldLayoutChg>
        <pc:sldLayoutChg chg="del">
          <pc:chgData name="Ray Glasheen" userId="785f7a1a-8d11-4bab-9525-84d3cd0677d5" providerId="ADAL" clId="{F197F129-1270-E74F-8CDD-56C4C54B5C87}" dt="2022-05-19T13:39:16.979" v="579" actId="2696"/>
          <pc:sldLayoutMkLst>
            <pc:docMk/>
            <pc:sldMasterMk cId="2992527240" sldId="2147483691"/>
            <pc:sldLayoutMk cId="1212816613" sldId="2147483696"/>
          </pc:sldLayoutMkLst>
        </pc:sldLayoutChg>
        <pc:sldLayoutChg chg="del">
          <pc:chgData name="Ray Glasheen" userId="785f7a1a-8d11-4bab-9525-84d3cd0677d5" providerId="ADAL" clId="{F197F129-1270-E74F-8CDD-56C4C54B5C87}" dt="2022-05-19T13:39:16.980" v="580" actId="2696"/>
          <pc:sldLayoutMkLst>
            <pc:docMk/>
            <pc:sldMasterMk cId="2992527240" sldId="2147483691"/>
            <pc:sldLayoutMk cId="3253591105" sldId="2147483697"/>
          </pc:sldLayoutMkLst>
        </pc:sldLayoutChg>
        <pc:sldLayoutChg chg="del">
          <pc:chgData name="Ray Glasheen" userId="785f7a1a-8d11-4bab-9525-84d3cd0677d5" providerId="ADAL" clId="{F197F129-1270-E74F-8CDD-56C4C54B5C87}" dt="2022-05-19T13:39:16.981" v="581" actId="2696"/>
          <pc:sldLayoutMkLst>
            <pc:docMk/>
            <pc:sldMasterMk cId="2992527240" sldId="2147483691"/>
            <pc:sldLayoutMk cId="506474714" sldId="2147483698"/>
          </pc:sldLayoutMkLst>
        </pc:sldLayoutChg>
        <pc:sldLayoutChg chg="del">
          <pc:chgData name="Ray Glasheen" userId="785f7a1a-8d11-4bab-9525-84d3cd0677d5" providerId="ADAL" clId="{F197F129-1270-E74F-8CDD-56C4C54B5C87}" dt="2022-05-19T13:39:13.047" v="573" actId="2696"/>
          <pc:sldLayoutMkLst>
            <pc:docMk/>
            <pc:sldMasterMk cId="2992527240" sldId="2147483691"/>
            <pc:sldLayoutMk cId="1456766223" sldId="2147483699"/>
          </pc:sldLayoutMkLst>
        </pc:sldLayoutChg>
        <pc:sldLayoutChg chg="del">
          <pc:chgData name="Ray Glasheen" userId="785f7a1a-8d11-4bab-9525-84d3cd0677d5" providerId="ADAL" clId="{F197F129-1270-E74F-8CDD-56C4C54B5C87}" dt="2022-05-19T13:39:13.048" v="574" actId="2696"/>
          <pc:sldLayoutMkLst>
            <pc:docMk/>
            <pc:sldMasterMk cId="2992527240" sldId="2147483691"/>
            <pc:sldLayoutMk cId="254926799" sldId="2147483700"/>
          </pc:sldLayoutMkLst>
        </pc:sldLayoutChg>
        <pc:sldLayoutChg chg="del">
          <pc:chgData name="Ray Glasheen" userId="785f7a1a-8d11-4bab-9525-84d3cd0677d5" providerId="ADAL" clId="{F197F129-1270-E74F-8CDD-56C4C54B5C87}" dt="2022-05-19T13:39:13.050" v="575" actId="2696"/>
          <pc:sldLayoutMkLst>
            <pc:docMk/>
            <pc:sldMasterMk cId="2992527240" sldId="2147483691"/>
            <pc:sldLayoutMk cId="3201139872" sldId="2147483701"/>
          </pc:sldLayoutMkLst>
        </pc:sldLayoutChg>
        <pc:sldLayoutChg chg="del">
          <pc:chgData name="Ray Glasheen" userId="785f7a1a-8d11-4bab-9525-84d3cd0677d5" providerId="ADAL" clId="{F197F129-1270-E74F-8CDD-56C4C54B5C87}" dt="2022-05-19T13:39:13.052" v="576" actId="2696"/>
          <pc:sldLayoutMkLst>
            <pc:docMk/>
            <pc:sldMasterMk cId="2992527240" sldId="2147483691"/>
            <pc:sldLayoutMk cId="2534153430" sldId="2147483702"/>
          </pc:sldLayoutMkLst>
        </pc:sldLayoutChg>
      </pc:sldMasterChg>
    </pc:docChg>
  </pc:docChgLst>
  <pc:docChgLst>
    <pc:chgData name="Mats Necker" userId="2d97bddf-6881-4b42-b7ae-84f5465d8fc5" providerId="ADAL" clId="{64EF28BB-8258-4085-BC8D-BEE27DDF323A}"/>
    <pc:docChg chg="modSld">
      <pc:chgData name="Mats Necker" userId="2d97bddf-6881-4b42-b7ae-84f5465d8fc5" providerId="ADAL" clId="{64EF28BB-8258-4085-BC8D-BEE27DDF323A}" dt="2025-06-15T10:20:43.886" v="1" actId="20577"/>
      <pc:docMkLst>
        <pc:docMk/>
      </pc:docMkLst>
      <pc:sldChg chg="modSp mod">
        <pc:chgData name="Mats Necker" userId="2d97bddf-6881-4b42-b7ae-84f5465d8fc5" providerId="ADAL" clId="{64EF28BB-8258-4085-BC8D-BEE27DDF323A}" dt="2025-06-15T10:20:43.886" v="1" actId="20577"/>
        <pc:sldMkLst>
          <pc:docMk/>
          <pc:sldMk cId="4018254821" sldId="272"/>
        </pc:sldMkLst>
        <pc:spChg chg="mod">
          <ac:chgData name="Mats Necker" userId="2d97bddf-6881-4b42-b7ae-84f5465d8fc5" providerId="ADAL" clId="{64EF28BB-8258-4085-BC8D-BEE27DDF323A}" dt="2025-06-15T10:20:43.886" v="1" actId="20577"/>
          <ac:spMkLst>
            <pc:docMk/>
            <pc:sldMk cId="4018254821" sldId="272"/>
            <ac:spMk id="5" creationId="{EBDF8977-59B6-6915-0364-1886EF0C41E0}"/>
          </ac:spMkLst>
        </pc:spChg>
      </pc:sldChg>
    </pc:docChg>
  </pc:docChgLst>
  <pc:docChgLst>
    <pc:chgData name="Ray Glasheen" userId="785f7a1a-8d11-4bab-9525-84d3cd0677d5" providerId="ADAL" clId="{2A0B4B6A-78F2-0947-B79B-248FB1DF9FBC}"/>
    <pc:docChg chg="undo custSel addSld delSld modSld sldOrd addMainMaster delMainMaster modMainMaster delSection modSection">
      <pc:chgData name="Ray Glasheen" userId="785f7a1a-8d11-4bab-9525-84d3cd0677d5" providerId="ADAL" clId="{2A0B4B6A-78F2-0947-B79B-248FB1DF9FBC}" dt="2019-09-09T13:37:32.210" v="147"/>
      <pc:docMkLst>
        <pc:docMk/>
      </pc:docMkLst>
      <pc:sldChg chg="ord">
        <pc:chgData name="Ray Glasheen" userId="785f7a1a-8d11-4bab-9525-84d3cd0677d5" providerId="ADAL" clId="{2A0B4B6A-78F2-0947-B79B-248FB1DF9FBC}" dt="2019-09-09T12:50:22.158" v="74"/>
        <pc:sldMkLst>
          <pc:docMk/>
          <pc:sldMk cId="3080557386" sldId="256"/>
        </pc:sldMkLst>
      </pc:sldChg>
      <pc:sldChg chg="del ord">
        <pc:chgData name="Ray Glasheen" userId="785f7a1a-8d11-4bab-9525-84d3cd0677d5" providerId="ADAL" clId="{2A0B4B6A-78F2-0947-B79B-248FB1DF9FBC}" dt="2019-09-09T12:44:29.104" v="44" actId="2696"/>
        <pc:sldMkLst>
          <pc:docMk/>
          <pc:sldMk cId="106699817" sldId="257"/>
        </pc:sldMkLst>
      </pc:sldChg>
      <pc:sldChg chg="add del">
        <pc:chgData name="Ray Glasheen" userId="785f7a1a-8d11-4bab-9525-84d3cd0677d5" providerId="ADAL" clId="{2A0B4B6A-78F2-0947-B79B-248FB1DF9FBC}" dt="2019-09-09T12:50:19.010" v="72" actId="2696"/>
        <pc:sldMkLst>
          <pc:docMk/>
          <pc:sldMk cId="438370249" sldId="257"/>
        </pc:sldMkLst>
      </pc:sldChg>
      <pc:sldChg chg="add del ord">
        <pc:chgData name="Ray Glasheen" userId="785f7a1a-8d11-4bab-9525-84d3cd0677d5" providerId="ADAL" clId="{2A0B4B6A-78F2-0947-B79B-248FB1DF9FBC}" dt="2019-09-09T12:48:18.678" v="68" actId="2696"/>
        <pc:sldMkLst>
          <pc:docMk/>
          <pc:sldMk cId="586064017" sldId="257"/>
        </pc:sldMkLst>
      </pc:sldChg>
      <pc:sldChg chg="add del ord">
        <pc:chgData name="Ray Glasheen" userId="785f7a1a-8d11-4bab-9525-84d3cd0677d5" providerId="ADAL" clId="{2A0B4B6A-78F2-0947-B79B-248FB1DF9FBC}" dt="2019-09-09T12:53:51.569" v="83" actId="2696"/>
        <pc:sldMkLst>
          <pc:docMk/>
          <pc:sldMk cId="779152959" sldId="257"/>
        </pc:sldMkLst>
      </pc:sldChg>
      <pc:sldChg chg="addSp delSp modSp add del">
        <pc:chgData name="Ray Glasheen" userId="785f7a1a-8d11-4bab-9525-84d3cd0677d5" providerId="ADAL" clId="{2A0B4B6A-78F2-0947-B79B-248FB1DF9FBC}" dt="2019-09-09T12:55:59.979" v="102" actId="2696"/>
        <pc:sldMkLst>
          <pc:docMk/>
          <pc:sldMk cId="3498775570" sldId="257"/>
        </pc:sldMkLst>
      </pc:sldChg>
      <pc:sldChg chg="delSp modSp add del">
        <pc:chgData name="Ray Glasheen" userId="785f7a1a-8d11-4bab-9525-84d3cd0677d5" providerId="ADAL" clId="{2A0B4B6A-78F2-0947-B79B-248FB1DF9FBC}" dt="2019-09-09T13:37:19.868" v="143" actId="2696"/>
        <pc:sldMkLst>
          <pc:docMk/>
          <pc:sldMk cId="350046711" sldId="258"/>
        </pc:sldMkLst>
      </pc:sldChg>
      <pc:sldChg chg="add del ord">
        <pc:chgData name="Ray Glasheen" userId="785f7a1a-8d11-4bab-9525-84d3cd0677d5" providerId="ADAL" clId="{2A0B4B6A-78F2-0947-B79B-248FB1DF9FBC}" dt="2019-09-09T12:53:51.576" v="84" actId="2696"/>
        <pc:sldMkLst>
          <pc:docMk/>
          <pc:sldMk cId="1791988191" sldId="258"/>
        </pc:sldMkLst>
      </pc:sldChg>
      <pc:sldChg chg="addSp delSp modSp add del">
        <pc:chgData name="Ray Glasheen" userId="785f7a1a-8d11-4bab-9525-84d3cd0677d5" providerId="ADAL" clId="{2A0B4B6A-78F2-0947-B79B-248FB1DF9FBC}" dt="2019-09-09T12:54:32.070" v="94" actId="2696"/>
        <pc:sldMkLst>
          <pc:docMk/>
          <pc:sldMk cId="2147544969" sldId="258"/>
        </pc:sldMkLst>
      </pc:sldChg>
      <pc:sldChg chg="add del">
        <pc:chgData name="Ray Glasheen" userId="785f7a1a-8d11-4bab-9525-84d3cd0677d5" providerId="ADAL" clId="{2A0B4B6A-78F2-0947-B79B-248FB1DF9FBC}" dt="2019-09-09T12:50:19.015" v="73" actId="2696"/>
        <pc:sldMkLst>
          <pc:docMk/>
          <pc:sldMk cId="4066818086" sldId="258"/>
        </pc:sldMkLst>
      </pc:sldChg>
      <pc:sldChg chg="add del">
        <pc:chgData name="Ray Glasheen" userId="785f7a1a-8d11-4bab-9525-84d3cd0677d5" providerId="ADAL" clId="{2A0B4B6A-78F2-0947-B79B-248FB1DF9FBC}" dt="2019-09-09T12:48:19.055" v="69" actId="2696"/>
        <pc:sldMkLst>
          <pc:docMk/>
          <pc:sldMk cId="4279310025" sldId="258"/>
        </pc:sldMkLst>
      </pc:sldChg>
      <pc:sldChg chg="add del">
        <pc:chgData name="Ray Glasheen" userId="785f7a1a-8d11-4bab-9525-84d3cd0677d5" providerId="ADAL" clId="{2A0B4B6A-78F2-0947-B79B-248FB1DF9FBC}" dt="2019-09-09T12:50:35.614" v="78"/>
        <pc:sldMkLst>
          <pc:docMk/>
          <pc:sldMk cId="1457403237" sldId="259"/>
        </pc:sldMkLst>
      </pc:sldChg>
      <pc:sldChg chg="add ord">
        <pc:chgData name="Ray Glasheen" userId="785f7a1a-8d11-4bab-9525-84d3cd0677d5" providerId="ADAL" clId="{2A0B4B6A-78F2-0947-B79B-248FB1DF9FBC}" dt="2019-09-09T13:00:03.198" v="119"/>
        <pc:sldMkLst>
          <pc:docMk/>
          <pc:sldMk cId="1732964153" sldId="259"/>
        </pc:sldMkLst>
      </pc:sldChg>
      <pc:sldChg chg="addSp delSp modSp add del">
        <pc:chgData name="Ray Glasheen" userId="785f7a1a-8d11-4bab-9525-84d3cd0677d5" providerId="ADAL" clId="{2A0B4B6A-78F2-0947-B79B-248FB1DF9FBC}" dt="2019-09-09T13:37:04.117" v="137" actId="2696"/>
        <pc:sldMkLst>
          <pc:docMk/>
          <pc:sldMk cId="512385773" sldId="260"/>
        </pc:sldMkLst>
      </pc:sldChg>
      <pc:sldChg chg="del ord">
        <pc:chgData name="Ray Glasheen" userId="785f7a1a-8d11-4bab-9525-84d3cd0677d5" providerId="ADAL" clId="{2A0B4B6A-78F2-0947-B79B-248FB1DF9FBC}" dt="2019-09-09T12:44:29.136" v="45" actId="2696"/>
        <pc:sldMkLst>
          <pc:docMk/>
          <pc:sldMk cId="3712868419" sldId="260"/>
        </pc:sldMkLst>
      </pc:sldChg>
      <pc:sldChg chg="addSp delSp modSp add">
        <pc:chgData name="Ray Glasheen" userId="785f7a1a-8d11-4bab-9525-84d3cd0677d5" providerId="ADAL" clId="{2A0B4B6A-78F2-0947-B79B-248FB1DF9FBC}" dt="2019-09-09T13:37:32.210" v="147"/>
        <pc:sldMkLst>
          <pc:docMk/>
          <pc:sldMk cId="4139045586" sldId="260"/>
        </pc:sldMkLst>
      </pc:sldChg>
      <pc:sldChg chg="del ord">
        <pc:chgData name="Ray Glasheen" userId="785f7a1a-8d11-4bab-9525-84d3cd0677d5" providerId="ADAL" clId="{2A0B4B6A-78F2-0947-B79B-248FB1DF9FBC}" dt="2019-09-09T12:44:29.161" v="46" actId="2696"/>
        <pc:sldMkLst>
          <pc:docMk/>
          <pc:sldMk cId="2715186742" sldId="261"/>
        </pc:sldMkLst>
      </pc:sldChg>
      <pc:sldChg chg="del ord">
        <pc:chgData name="Ray Glasheen" userId="785f7a1a-8d11-4bab-9525-84d3cd0677d5" providerId="ADAL" clId="{2A0B4B6A-78F2-0947-B79B-248FB1DF9FBC}" dt="2019-09-09T12:44:29.168" v="47" actId="2696"/>
        <pc:sldMkLst>
          <pc:docMk/>
          <pc:sldMk cId="1269862375" sldId="263"/>
        </pc:sldMkLst>
      </pc:sldChg>
      <pc:sldChg chg="add del">
        <pc:chgData name="Ray Glasheen" userId="785f7a1a-8d11-4bab-9525-84d3cd0677d5" providerId="ADAL" clId="{2A0B4B6A-78F2-0947-B79B-248FB1DF9FBC}" dt="2019-09-09T12:42:20.161" v="26"/>
        <pc:sldMkLst>
          <pc:docMk/>
          <pc:sldMk cId="354429252" sldId="264"/>
        </pc:sldMkLst>
      </pc:sldChg>
      <pc:sldChg chg="add del">
        <pc:chgData name="Ray Glasheen" userId="785f7a1a-8d11-4bab-9525-84d3cd0677d5" providerId="ADAL" clId="{2A0B4B6A-78F2-0947-B79B-248FB1DF9FBC}" dt="2019-09-09T12:38:44.642" v="17"/>
        <pc:sldMkLst>
          <pc:docMk/>
          <pc:sldMk cId="4219875556" sldId="264"/>
        </pc:sldMkLst>
      </pc:sldChg>
      <pc:sldMasterChg chg="setBg">
        <pc:chgData name="Ray Glasheen" userId="785f7a1a-8d11-4bab-9525-84d3cd0677d5" providerId="ADAL" clId="{2A0B4B6A-78F2-0947-B79B-248FB1DF9FBC}" dt="2019-09-09T12:38:06.558" v="15"/>
        <pc:sldMasterMkLst>
          <pc:docMk/>
          <pc:sldMasterMk cId="698234528" sldId="2147483671"/>
        </pc:sldMasterMkLst>
      </pc:sldMasterChg>
      <pc:sldMasterChg chg="del setBg delSldLayout">
        <pc:chgData name="Ray Glasheen" userId="785f7a1a-8d11-4bab-9525-84d3cd0677d5" providerId="ADAL" clId="{2A0B4B6A-78F2-0947-B79B-248FB1DF9FBC}" dt="2019-09-09T12:46:41.446" v="58" actId="2696"/>
        <pc:sldMasterMkLst>
          <pc:docMk/>
          <pc:sldMasterMk cId="4103471496" sldId="2147483673"/>
        </pc:sldMasterMkLst>
        <pc:sldLayoutChg chg="del">
          <pc:chgData name="Ray Glasheen" userId="785f7a1a-8d11-4bab-9525-84d3cd0677d5" providerId="ADAL" clId="{2A0B4B6A-78F2-0947-B79B-248FB1DF9FBC}" dt="2019-09-09T12:36:54.849" v="4" actId="2696"/>
          <pc:sldLayoutMkLst>
            <pc:docMk/>
            <pc:sldMasterMk cId="4103471496" sldId="2147483673"/>
            <pc:sldLayoutMk cId="1052879013" sldId="2147483674"/>
          </pc:sldLayoutMkLst>
        </pc:sldLayoutChg>
      </pc:sldMasterChg>
      <pc:sldMasterChg chg="del delSldLayout">
        <pc:chgData name="Ray Glasheen" userId="785f7a1a-8d11-4bab-9525-84d3cd0677d5" providerId="ADAL" clId="{2A0B4B6A-78F2-0947-B79B-248FB1DF9FBC}" dt="2019-09-09T12:46:11.697" v="56" actId="2696"/>
        <pc:sldMasterMkLst>
          <pc:docMk/>
          <pc:sldMasterMk cId="832981905" sldId="2147483674"/>
        </pc:sldMasterMkLst>
        <pc:sldLayoutChg chg="del">
          <pc:chgData name="Ray Glasheen" userId="785f7a1a-8d11-4bab-9525-84d3cd0677d5" providerId="ADAL" clId="{2A0B4B6A-78F2-0947-B79B-248FB1DF9FBC}" dt="2019-09-09T12:37:07.160" v="5" actId="2696"/>
          <pc:sldLayoutMkLst>
            <pc:docMk/>
            <pc:sldMasterMk cId="832981905" sldId="2147483674"/>
            <pc:sldLayoutMk cId="843600030" sldId="2147483675"/>
          </pc:sldLayoutMkLst>
        </pc:sldLayoutChg>
      </pc:sldMasterChg>
      <pc:sldMasterChg chg="del delSldLayout">
        <pc:chgData name="Ray Glasheen" userId="785f7a1a-8d11-4bab-9525-84d3cd0677d5" providerId="ADAL" clId="{2A0B4B6A-78F2-0947-B79B-248FB1DF9FBC}" dt="2019-09-09T12:46:41.450" v="59" actId="2696"/>
        <pc:sldMasterMkLst>
          <pc:docMk/>
          <pc:sldMasterMk cId="4148887170" sldId="2147483675"/>
        </pc:sldMasterMkLst>
        <pc:sldLayoutChg chg="del">
          <pc:chgData name="Ray Glasheen" userId="785f7a1a-8d11-4bab-9525-84d3cd0677d5" providerId="ADAL" clId="{2A0B4B6A-78F2-0947-B79B-248FB1DF9FBC}" dt="2019-09-09T12:37:40.158" v="10" actId="2696"/>
          <pc:sldLayoutMkLst>
            <pc:docMk/>
            <pc:sldMasterMk cId="4148887170" sldId="2147483675"/>
            <pc:sldLayoutMk cId="712172363" sldId="2147483676"/>
          </pc:sldLayoutMkLst>
        </pc:sldLayoutChg>
      </pc:sldMasterChg>
      <pc:sldMasterChg chg="del delSldLayout">
        <pc:chgData name="Ray Glasheen" userId="785f7a1a-8d11-4bab-9525-84d3cd0677d5" providerId="ADAL" clId="{2A0B4B6A-78F2-0947-B79B-248FB1DF9FBC}" dt="2019-09-09T12:46:43.084" v="60" actId="2696"/>
        <pc:sldMasterMkLst>
          <pc:docMk/>
          <pc:sldMasterMk cId="3982802190" sldId="2147483676"/>
        </pc:sldMasterMkLst>
        <pc:sldLayoutChg chg="del">
          <pc:chgData name="Ray Glasheen" userId="785f7a1a-8d11-4bab-9525-84d3cd0677d5" providerId="ADAL" clId="{2A0B4B6A-78F2-0947-B79B-248FB1DF9FBC}" dt="2019-09-09T12:37:59.878" v="13" actId="2696"/>
          <pc:sldLayoutMkLst>
            <pc:docMk/>
            <pc:sldMasterMk cId="3982802190" sldId="2147483676"/>
            <pc:sldLayoutMk cId="2307628883" sldId="2147483677"/>
          </pc:sldLayoutMkLst>
        </pc:sldLayoutChg>
      </pc:sldMasterChg>
      <pc:sldMasterChg chg="addSp delSp modSp del setBg delSldLayout">
        <pc:chgData name="Ray Glasheen" userId="785f7a1a-8d11-4bab-9525-84d3cd0677d5" providerId="ADAL" clId="{2A0B4B6A-78F2-0947-B79B-248FB1DF9FBC}" dt="2019-09-09T12:46:41.442" v="57" actId="2696"/>
        <pc:sldMasterMkLst>
          <pc:docMk/>
          <pc:sldMasterMk cId="3658421040" sldId="2147483677"/>
        </pc:sldMasterMkLst>
        <pc:sldLayoutChg chg="del">
          <pc:chgData name="Ray Glasheen" userId="785f7a1a-8d11-4bab-9525-84d3cd0677d5" providerId="ADAL" clId="{2A0B4B6A-78F2-0947-B79B-248FB1DF9FBC}" dt="2019-09-09T12:43:09.489" v="28" actId="2696"/>
          <pc:sldLayoutMkLst>
            <pc:docMk/>
            <pc:sldMasterMk cId="3658421040" sldId="2147483677"/>
            <pc:sldLayoutMk cId="2135471635" sldId="2147483678"/>
          </pc:sldLayoutMkLst>
        </pc:sldLayoutChg>
        <pc:sldLayoutChg chg="del">
          <pc:chgData name="Ray Glasheen" userId="785f7a1a-8d11-4bab-9525-84d3cd0677d5" providerId="ADAL" clId="{2A0B4B6A-78F2-0947-B79B-248FB1DF9FBC}" dt="2019-09-09T12:43:09.489" v="29" actId="2696"/>
          <pc:sldLayoutMkLst>
            <pc:docMk/>
            <pc:sldMasterMk cId="3658421040" sldId="2147483677"/>
            <pc:sldLayoutMk cId="571817390" sldId="2147483679"/>
          </pc:sldLayoutMkLst>
        </pc:sldLayoutChg>
        <pc:sldLayoutChg chg="del">
          <pc:chgData name="Ray Glasheen" userId="785f7a1a-8d11-4bab-9525-84d3cd0677d5" providerId="ADAL" clId="{2A0B4B6A-78F2-0947-B79B-248FB1DF9FBC}" dt="2019-09-09T12:43:09.490" v="30" actId="2696"/>
          <pc:sldLayoutMkLst>
            <pc:docMk/>
            <pc:sldMasterMk cId="3658421040" sldId="2147483677"/>
            <pc:sldLayoutMk cId="2092552098" sldId="2147483680"/>
          </pc:sldLayoutMkLst>
        </pc:sldLayoutChg>
        <pc:sldLayoutChg chg="del">
          <pc:chgData name="Ray Glasheen" userId="785f7a1a-8d11-4bab-9525-84d3cd0677d5" providerId="ADAL" clId="{2A0B4B6A-78F2-0947-B79B-248FB1DF9FBC}" dt="2019-09-09T12:43:09.491" v="31" actId="2696"/>
          <pc:sldLayoutMkLst>
            <pc:docMk/>
            <pc:sldMasterMk cId="3658421040" sldId="2147483677"/>
            <pc:sldLayoutMk cId="1130156457" sldId="2147483681"/>
          </pc:sldLayoutMkLst>
        </pc:sldLayoutChg>
        <pc:sldLayoutChg chg="del">
          <pc:chgData name="Ray Glasheen" userId="785f7a1a-8d11-4bab-9525-84d3cd0677d5" providerId="ADAL" clId="{2A0B4B6A-78F2-0947-B79B-248FB1DF9FBC}" dt="2019-09-09T12:43:09.493" v="32" actId="2696"/>
          <pc:sldLayoutMkLst>
            <pc:docMk/>
            <pc:sldMasterMk cId="3658421040" sldId="2147483677"/>
            <pc:sldLayoutMk cId="907618186" sldId="2147483682"/>
          </pc:sldLayoutMkLst>
        </pc:sldLayoutChg>
        <pc:sldLayoutChg chg="del">
          <pc:chgData name="Ray Glasheen" userId="785f7a1a-8d11-4bab-9525-84d3cd0677d5" providerId="ADAL" clId="{2A0B4B6A-78F2-0947-B79B-248FB1DF9FBC}" dt="2019-09-09T12:43:09.493" v="33" actId="2696"/>
          <pc:sldLayoutMkLst>
            <pc:docMk/>
            <pc:sldMasterMk cId="3658421040" sldId="2147483677"/>
            <pc:sldLayoutMk cId="2740573742" sldId="2147483683"/>
          </pc:sldLayoutMkLst>
        </pc:sldLayoutChg>
        <pc:sldLayoutChg chg="del">
          <pc:chgData name="Ray Glasheen" userId="785f7a1a-8d11-4bab-9525-84d3cd0677d5" providerId="ADAL" clId="{2A0B4B6A-78F2-0947-B79B-248FB1DF9FBC}" dt="2019-09-09T12:43:09.494" v="34" actId="2696"/>
          <pc:sldLayoutMkLst>
            <pc:docMk/>
            <pc:sldMasterMk cId="3658421040" sldId="2147483677"/>
            <pc:sldLayoutMk cId="1054971108" sldId="2147483684"/>
          </pc:sldLayoutMkLst>
        </pc:sldLayoutChg>
        <pc:sldLayoutChg chg="del">
          <pc:chgData name="Ray Glasheen" userId="785f7a1a-8d11-4bab-9525-84d3cd0677d5" providerId="ADAL" clId="{2A0B4B6A-78F2-0947-B79B-248FB1DF9FBC}" dt="2019-09-09T12:43:09.495" v="35" actId="2696"/>
          <pc:sldLayoutMkLst>
            <pc:docMk/>
            <pc:sldMasterMk cId="3658421040" sldId="2147483677"/>
            <pc:sldLayoutMk cId="3736021026" sldId="2147483685"/>
          </pc:sldLayoutMkLst>
        </pc:sldLayoutChg>
        <pc:sldLayoutChg chg="del">
          <pc:chgData name="Ray Glasheen" userId="785f7a1a-8d11-4bab-9525-84d3cd0677d5" providerId="ADAL" clId="{2A0B4B6A-78F2-0947-B79B-248FB1DF9FBC}" dt="2019-09-09T12:43:09.496" v="36" actId="2696"/>
          <pc:sldLayoutMkLst>
            <pc:docMk/>
            <pc:sldMasterMk cId="3658421040" sldId="2147483677"/>
            <pc:sldLayoutMk cId="1183859770" sldId="2147483686"/>
          </pc:sldLayoutMkLst>
        </pc:sldLayoutChg>
        <pc:sldLayoutChg chg="del">
          <pc:chgData name="Ray Glasheen" userId="785f7a1a-8d11-4bab-9525-84d3cd0677d5" providerId="ADAL" clId="{2A0B4B6A-78F2-0947-B79B-248FB1DF9FBC}" dt="2019-09-09T12:43:09.497" v="37" actId="2696"/>
          <pc:sldLayoutMkLst>
            <pc:docMk/>
            <pc:sldMasterMk cId="3658421040" sldId="2147483677"/>
            <pc:sldLayoutMk cId="61536417" sldId="2147483687"/>
          </pc:sldLayoutMkLst>
        </pc:sldLayoutChg>
        <pc:sldLayoutChg chg="del">
          <pc:chgData name="Ray Glasheen" userId="785f7a1a-8d11-4bab-9525-84d3cd0677d5" providerId="ADAL" clId="{2A0B4B6A-78F2-0947-B79B-248FB1DF9FBC}" dt="2019-09-09T12:43:09.498" v="38" actId="2696"/>
          <pc:sldLayoutMkLst>
            <pc:docMk/>
            <pc:sldMasterMk cId="3658421040" sldId="2147483677"/>
            <pc:sldLayoutMk cId="3792518421" sldId="2147483688"/>
          </pc:sldLayoutMkLst>
        </pc:sldLayoutChg>
      </pc:sldMasterChg>
      <pc:sldMasterChg chg="setBg modSldLayout">
        <pc:chgData name="Ray Glasheen" userId="785f7a1a-8d11-4bab-9525-84d3cd0677d5" providerId="ADAL" clId="{2A0B4B6A-78F2-0947-B79B-248FB1DF9FBC}" dt="2019-09-09T12:51:31.407" v="80"/>
        <pc:sldMasterMkLst>
          <pc:docMk/>
          <pc:sldMasterMk cId="2281765972" sldId="2147483678"/>
        </pc:sldMasterMkLst>
        <pc:sldLayoutChg chg="addSp delSp modSp">
          <pc:chgData name="Ray Glasheen" userId="785f7a1a-8d11-4bab-9525-84d3cd0677d5" providerId="ADAL" clId="{2A0B4B6A-78F2-0947-B79B-248FB1DF9FBC}" dt="2019-09-09T12:51:31.407" v="80"/>
          <pc:sldLayoutMkLst>
            <pc:docMk/>
            <pc:sldMasterMk cId="2281765972" sldId="2147483678"/>
            <pc:sldLayoutMk cId="2898312491" sldId="2147483679"/>
          </pc:sldLayoutMkLst>
        </pc:sldLayoutChg>
      </pc:sldMasterChg>
      <pc:sldMasterChg chg="addSp delSp add del setBg addSldLayout delSldLayout modSldLayout">
        <pc:chgData name="Ray Glasheen" userId="785f7a1a-8d11-4bab-9525-84d3cd0677d5" providerId="ADAL" clId="{2A0B4B6A-78F2-0947-B79B-248FB1DF9FBC}" dt="2019-09-09T13:37:19.859" v="142" actId="2696"/>
        <pc:sldMasterMkLst>
          <pc:docMk/>
          <pc:sldMasterMk cId="4189170703" sldId="2147483680"/>
        </pc:sldMasterMkLst>
        <pc:sldLayoutChg chg="addSp delSp modSp add del">
          <pc:chgData name="Ray Glasheen" userId="785f7a1a-8d11-4bab-9525-84d3cd0677d5" providerId="ADAL" clId="{2A0B4B6A-78F2-0947-B79B-248FB1DF9FBC}" dt="2019-09-09T13:37:19.859" v="142" actId="2696"/>
          <pc:sldLayoutMkLst>
            <pc:docMk/>
            <pc:sldMasterMk cId="4189170703" sldId="2147483680"/>
            <pc:sldLayoutMk cId="1131539201" sldId="2147483681"/>
          </pc:sldLayoutMkLst>
        </pc:sldLayoutChg>
      </pc:sldMasterChg>
      <pc:sldMasterChg chg="setBg">
        <pc:chgData name="Ray Glasheen" userId="785f7a1a-8d11-4bab-9525-84d3cd0677d5" providerId="ADAL" clId="{2A0B4B6A-78F2-0947-B79B-248FB1DF9FBC}" dt="2019-09-09T12:47:43.766" v="64"/>
        <pc:sldMasterMkLst>
          <pc:docMk/>
          <pc:sldMasterMk cId="1758291486" sldId="2147483682"/>
        </pc:sldMasterMkLst>
      </pc:sldMasterChg>
      <pc:sldMasterChg chg="setBg">
        <pc:chgData name="Ray Glasheen" userId="785f7a1a-8d11-4bab-9525-84d3cd0677d5" providerId="ADAL" clId="{2A0B4B6A-78F2-0947-B79B-248FB1DF9FBC}" dt="2019-09-09T12:48:05.799" v="66"/>
        <pc:sldMasterMkLst>
          <pc:docMk/>
          <pc:sldMasterMk cId="102519618" sldId="2147483684"/>
        </pc:sldMasterMkLst>
      </pc:sldMasterChg>
    </pc:docChg>
  </pc:docChgLst>
  <pc:docChgLst>
    <pc:chgData name="Ray Glasheen" userId="785f7a1a-8d11-4bab-9525-84d3cd0677d5" providerId="ADAL" clId="{88B8D0F5-309D-B340-9DE8-FC41232719A1}"/>
    <pc:docChg chg="modSld">
      <pc:chgData name="Ray Glasheen" userId="785f7a1a-8d11-4bab-9525-84d3cd0677d5" providerId="ADAL" clId="{88B8D0F5-309D-B340-9DE8-FC41232719A1}" dt="2019-09-04T08:44:04.341" v="1"/>
      <pc:docMkLst>
        <pc:docMk/>
      </pc:docMkLst>
    </pc:docChg>
  </pc:docChgLst>
  <pc:docChgLst>
    <pc:chgData name="Ray Glasheen" userId="785f7a1a-8d11-4bab-9525-84d3cd0677d5" providerId="ADAL" clId="{33988B12-5C14-8645-9350-17F09BAB8880}"/>
    <pc:docChg chg="undo modSld">
      <pc:chgData name="Ray Glasheen" userId="785f7a1a-8d11-4bab-9525-84d3cd0677d5" providerId="ADAL" clId="{33988B12-5C14-8645-9350-17F09BAB8880}" dt="2019-08-22T08:35:38.981" v="14"/>
      <pc:docMkLst>
        <pc:docMk/>
      </pc:docMkLst>
      <pc:sldChg chg="addSp delSp modSp setBg">
        <pc:chgData name="Ray Glasheen" userId="785f7a1a-8d11-4bab-9525-84d3cd0677d5" providerId="ADAL" clId="{33988B12-5C14-8645-9350-17F09BAB8880}" dt="2019-08-22T08:33:21.497" v="6"/>
        <pc:sldMkLst>
          <pc:docMk/>
          <pc:sldMk cId="3080557386" sldId="256"/>
        </pc:sldMkLst>
      </pc:sldChg>
    </pc:docChg>
  </pc:docChgLst>
  <pc:docChgLst>
    <pc:chgData name="Ray Glasheen" userId="c67fd889-8470-4165-8569-8911e7ff9a0a" providerId="ADAL" clId="{CF9B0DD4-2C1A-0E4A-97E2-4A9D968DFA50}"/>
    <pc:docChg chg="custSel addSld delSld modSld modMainMaster">
      <pc:chgData name="Ray Glasheen" userId="c67fd889-8470-4165-8569-8911e7ff9a0a" providerId="ADAL" clId="{CF9B0DD4-2C1A-0E4A-97E2-4A9D968DFA50}" dt="2024-05-01T13:15:49.121" v="28" actId="207"/>
      <pc:docMkLst>
        <pc:docMk/>
      </pc:docMkLst>
      <pc:sldChg chg="modSp mod">
        <pc:chgData name="Ray Glasheen" userId="c67fd889-8470-4165-8569-8911e7ff9a0a" providerId="ADAL" clId="{CF9B0DD4-2C1A-0E4A-97E2-4A9D968DFA50}" dt="2024-05-01T13:14:05.261" v="9" actId="207"/>
        <pc:sldMkLst>
          <pc:docMk/>
          <pc:sldMk cId="350046711" sldId="258"/>
        </pc:sldMkLst>
      </pc:sldChg>
      <pc:sldChg chg="del mod chgLayout">
        <pc:chgData name="Ray Glasheen" userId="c67fd889-8470-4165-8569-8911e7ff9a0a" providerId="ADAL" clId="{CF9B0DD4-2C1A-0E4A-97E2-4A9D968DFA50}" dt="2024-05-01T12:32:00.913" v="6" actId="2696"/>
        <pc:sldMkLst>
          <pc:docMk/>
          <pc:sldMk cId="3754779477" sldId="260"/>
        </pc:sldMkLst>
      </pc:sldChg>
      <pc:sldChg chg="modSp mod">
        <pc:chgData name="Ray Glasheen" userId="c67fd889-8470-4165-8569-8911e7ff9a0a" providerId="ADAL" clId="{CF9B0DD4-2C1A-0E4A-97E2-4A9D968DFA50}" dt="2024-05-01T13:14:12.782" v="11" actId="207"/>
        <pc:sldMkLst>
          <pc:docMk/>
          <pc:sldMk cId="1474078492" sldId="261"/>
        </pc:sldMkLst>
      </pc:sldChg>
      <pc:sldChg chg="modSp mod">
        <pc:chgData name="Ray Glasheen" userId="c67fd889-8470-4165-8569-8911e7ff9a0a" providerId="ADAL" clId="{CF9B0DD4-2C1A-0E4A-97E2-4A9D968DFA50}" dt="2024-05-01T13:14:23.913" v="13" actId="207"/>
        <pc:sldMkLst>
          <pc:docMk/>
          <pc:sldMk cId="1157289511" sldId="262"/>
        </pc:sldMkLst>
      </pc:sldChg>
      <pc:sldChg chg="modSp mod">
        <pc:chgData name="Ray Glasheen" userId="c67fd889-8470-4165-8569-8911e7ff9a0a" providerId="ADAL" clId="{CF9B0DD4-2C1A-0E4A-97E2-4A9D968DFA50}" dt="2024-05-01T13:14:31.880" v="15" actId="207"/>
        <pc:sldMkLst>
          <pc:docMk/>
          <pc:sldMk cId="3577289732" sldId="264"/>
        </pc:sldMkLst>
      </pc:sldChg>
      <pc:sldChg chg="modSp mod">
        <pc:chgData name="Ray Glasheen" userId="c67fd889-8470-4165-8569-8911e7ff9a0a" providerId="ADAL" clId="{CF9B0DD4-2C1A-0E4A-97E2-4A9D968DFA50}" dt="2024-05-01T13:14:41.355" v="17" actId="207"/>
        <pc:sldMkLst>
          <pc:docMk/>
          <pc:sldMk cId="2735981974" sldId="265"/>
        </pc:sldMkLst>
      </pc:sldChg>
      <pc:sldChg chg="modSp mod">
        <pc:chgData name="Ray Glasheen" userId="c67fd889-8470-4165-8569-8911e7ff9a0a" providerId="ADAL" clId="{CF9B0DD4-2C1A-0E4A-97E2-4A9D968DFA50}" dt="2024-05-01T13:14:43.955" v="18" actId="207"/>
        <pc:sldMkLst>
          <pc:docMk/>
          <pc:sldMk cId="998035033" sldId="266"/>
        </pc:sldMkLst>
      </pc:sldChg>
      <pc:sldChg chg="modSp mod">
        <pc:chgData name="Ray Glasheen" userId="c67fd889-8470-4165-8569-8911e7ff9a0a" providerId="ADAL" clId="{CF9B0DD4-2C1A-0E4A-97E2-4A9D968DFA50}" dt="2024-05-01T13:14:09.322" v="10" actId="207"/>
        <pc:sldMkLst>
          <pc:docMk/>
          <pc:sldMk cId="391276983" sldId="267"/>
        </pc:sldMkLst>
      </pc:sldChg>
      <pc:sldChg chg="modSp mod">
        <pc:chgData name="Ray Glasheen" userId="c67fd889-8470-4165-8569-8911e7ff9a0a" providerId="ADAL" clId="{CF9B0DD4-2C1A-0E4A-97E2-4A9D968DFA50}" dt="2024-05-01T13:14:19.655" v="12" actId="207"/>
        <pc:sldMkLst>
          <pc:docMk/>
          <pc:sldMk cId="1510906715" sldId="268"/>
        </pc:sldMkLst>
      </pc:sldChg>
      <pc:sldChg chg="modSp mod">
        <pc:chgData name="Ray Glasheen" userId="c67fd889-8470-4165-8569-8911e7ff9a0a" providerId="ADAL" clId="{CF9B0DD4-2C1A-0E4A-97E2-4A9D968DFA50}" dt="2024-05-01T13:14:26.609" v="14" actId="207"/>
        <pc:sldMkLst>
          <pc:docMk/>
          <pc:sldMk cId="2444015328" sldId="269"/>
        </pc:sldMkLst>
      </pc:sldChg>
      <pc:sldChg chg="modSp mod">
        <pc:chgData name="Ray Glasheen" userId="c67fd889-8470-4165-8569-8911e7ff9a0a" providerId="ADAL" clId="{CF9B0DD4-2C1A-0E4A-97E2-4A9D968DFA50}" dt="2024-05-01T13:14:38.077" v="16" actId="207"/>
        <pc:sldMkLst>
          <pc:docMk/>
          <pc:sldMk cId="656950007" sldId="270"/>
        </pc:sldMkLst>
      </pc:sldChg>
      <pc:sldChg chg="new">
        <pc:chgData name="Ray Glasheen" userId="c67fd889-8470-4165-8569-8911e7ff9a0a" providerId="ADAL" clId="{CF9B0DD4-2C1A-0E4A-97E2-4A9D968DFA50}" dt="2024-05-01T12:31:59.121" v="5" actId="680"/>
        <pc:sldMkLst>
          <pc:docMk/>
          <pc:sldMk cId="3898693924" sldId="271"/>
        </pc:sldMkLst>
      </pc:sldChg>
      <pc:sldChg chg="new">
        <pc:chgData name="Ray Glasheen" userId="c67fd889-8470-4165-8569-8911e7ff9a0a" providerId="ADAL" clId="{CF9B0DD4-2C1A-0E4A-97E2-4A9D968DFA50}" dt="2024-05-01T13:05:09.441" v="7" actId="680"/>
        <pc:sldMkLst>
          <pc:docMk/>
          <pc:sldMk cId="1436824444" sldId="272"/>
        </pc:sldMkLst>
      </pc:sldChg>
      <pc:sldChg chg="new del">
        <pc:chgData name="Ray Glasheen" userId="c67fd889-8470-4165-8569-8911e7ff9a0a" providerId="ADAL" clId="{CF9B0DD4-2C1A-0E4A-97E2-4A9D968DFA50}" dt="2024-05-01T13:14:48.691" v="19" actId="2696"/>
        <pc:sldMkLst>
          <pc:docMk/>
          <pc:sldMk cId="780338174" sldId="273"/>
        </pc:sldMkLst>
      </pc:sldChg>
      <pc:sldMasterChg chg="modSldLayout">
        <pc:chgData name="Ray Glasheen" userId="c67fd889-8470-4165-8569-8911e7ff9a0a" providerId="ADAL" clId="{CF9B0DD4-2C1A-0E4A-97E2-4A9D968DFA50}" dt="2024-05-01T13:15:13.776" v="20" actId="207"/>
        <pc:sldMasterMkLst>
          <pc:docMk/>
          <pc:sldMasterMk cId="4189170703" sldId="2147483680"/>
        </pc:sldMasterMkLst>
        <pc:sldLayoutChg chg="modSp">
          <pc:chgData name="Ray Glasheen" userId="c67fd889-8470-4165-8569-8911e7ff9a0a" providerId="ADAL" clId="{CF9B0DD4-2C1A-0E4A-97E2-4A9D968DFA50}" dt="2024-05-01T13:15:13.776" v="20" actId="207"/>
          <pc:sldLayoutMkLst>
            <pc:docMk/>
            <pc:sldMasterMk cId="4189170703" sldId="2147483680"/>
            <pc:sldLayoutMk cId="1131539201" sldId="2147483681"/>
          </pc:sldLayoutMkLst>
        </pc:sldLayoutChg>
      </pc:sldMasterChg>
      <pc:sldMasterChg chg="modSldLayout">
        <pc:chgData name="Ray Glasheen" userId="c67fd889-8470-4165-8569-8911e7ff9a0a" providerId="ADAL" clId="{CF9B0DD4-2C1A-0E4A-97E2-4A9D968DFA50}" dt="2024-05-01T13:15:49.121" v="28" actId="207"/>
        <pc:sldMasterMkLst>
          <pc:docMk/>
          <pc:sldMasterMk cId="1758291486" sldId="2147483682"/>
        </pc:sldMasterMkLst>
        <pc:sldLayoutChg chg="modSp">
          <pc:chgData name="Ray Glasheen" userId="c67fd889-8470-4165-8569-8911e7ff9a0a" providerId="ADAL" clId="{CF9B0DD4-2C1A-0E4A-97E2-4A9D968DFA50}" dt="2024-05-01T13:15:18.707" v="21" actId="207"/>
          <pc:sldLayoutMkLst>
            <pc:docMk/>
            <pc:sldMasterMk cId="1758291486" sldId="2147483682"/>
            <pc:sldLayoutMk cId="4187323503" sldId="2147483683"/>
          </pc:sldLayoutMkLst>
        </pc:sldLayoutChg>
        <pc:sldLayoutChg chg="modSp">
          <pc:chgData name="Ray Glasheen" userId="c67fd889-8470-4165-8569-8911e7ff9a0a" providerId="ADAL" clId="{CF9B0DD4-2C1A-0E4A-97E2-4A9D968DFA50}" dt="2024-05-01T13:15:40.573" v="25" actId="207"/>
          <pc:sldLayoutMkLst>
            <pc:docMk/>
            <pc:sldMasterMk cId="1758291486" sldId="2147483682"/>
            <pc:sldLayoutMk cId="1015417581" sldId="2147483687"/>
          </pc:sldLayoutMkLst>
        </pc:sldLayoutChg>
        <pc:sldLayoutChg chg="modSp">
          <pc:chgData name="Ray Glasheen" userId="c67fd889-8470-4165-8569-8911e7ff9a0a" providerId="ADAL" clId="{CF9B0DD4-2C1A-0E4A-97E2-4A9D968DFA50}" dt="2024-05-01T13:15:45.723" v="27" actId="207"/>
          <pc:sldLayoutMkLst>
            <pc:docMk/>
            <pc:sldMasterMk cId="1758291486" sldId="2147483682"/>
            <pc:sldLayoutMk cId="304504484" sldId="2147483688"/>
          </pc:sldLayoutMkLst>
        </pc:sldLayoutChg>
        <pc:sldLayoutChg chg="modSp">
          <pc:chgData name="Ray Glasheen" userId="c67fd889-8470-4165-8569-8911e7ff9a0a" providerId="ADAL" clId="{CF9B0DD4-2C1A-0E4A-97E2-4A9D968DFA50}" dt="2024-05-01T13:15:35.196" v="24" actId="207"/>
          <pc:sldLayoutMkLst>
            <pc:docMk/>
            <pc:sldMasterMk cId="1758291486" sldId="2147483682"/>
            <pc:sldLayoutMk cId="1999175194" sldId="2147483689"/>
          </pc:sldLayoutMkLst>
        </pc:sldLayoutChg>
        <pc:sldLayoutChg chg="modSp">
          <pc:chgData name="Ray Glasheen" userId="c67fd889-8470-4165-8569-8911e7ff9a0a" providerId="ADAL" clId="{CF9B0DD4-2C1A-0E4A-97E2-4A9D968DFA50}" dt="2024-05-01T13:15:49.121" v="28" actId="207"/>
          <pc:sldLayoutMkLst>
            <pc:docMk/>
            <pc:sldMasterMk cId="1758291486" sldId="2147483682"/>
            <pc:sldLayoutMk cId="2602732109" sldId="2147483690"/>
          </pc:sldLayoutMkLst>
        </pc:sldLayoutChg>
        <pc:sldLayoutChg chg="modSp">
          <pc:chgData name="Ray Glasheen" userId="c67fd889-8470-4165-8569-8911e7ff9a0a" providerId="ADAL" clId="{CF9B0DD4-2C1A-0E4A-97E2-4A9D968DFA50}" dt="2024-05-01T13:15:21.405" v="22" actId="207"/>
          <pc:sldLayoutMkLst>
            <pc:docMk/>
            <pc:sldMasterMk cId="1758291486" sldId="2147483682"/>
            <pc:sldLayoutMk cId="1865159803" sldId="2147483692"/>
          </pc:sldLayoutMkLst>
        </pc:sldLayoutChg>
        <pc:sldLayoutChg chg="modSp">
          <pc:chgData name="Ray Glasheen" userId="c67fd889-8470-4165-8569-8911e7ff9a0a" providerId="ADAL" clId="{CF9B0DD4-2C1A-0E4A-97E2-4A9D968DFA50}" dt="2024-05-01T13:15:31.747" v="23" actId="207"/>
          <pc:sldLayoutMkLst>
            <pc:docMk/>
            <pc:sldMasterMk cId="1758291486" sldId="2147483682"/>
            <pc:sldLayoutMk cId="4070593789" sldId="2147483693"/>
          </pc:sldLayoutMkLst>
        </pc:sldLayoutChg>
        <pc:sldLayoutChg chg="modSp">
          <pc:chgData name="Ray Glasheen" userId="c67fd889-8470-4165-8569-8911e7ff9a0a" providerId="ADAL" clId="{CF9B0DD4-2C1A-0E4A-97E2-4A9D968DFA50}" dt="2024-05-01T13:15:43.331" v="26" actId="207"/>
          <pc:sldLayoutMkLst>
            <pc:docMk/>
            <pc:sldMasterMk cId="1758291486" sldId="2147483682"/>
            <pc:sldLayoutMk cId="1038442111" sldId="2147483694"/>
          </pc:sldLayoutMkLst>
        </pc:sldLayoutChg>
      </pc:sldMasterChg>
      <pc:sldMasterChg chg="setBg">
        <pc:chgData name="Ray Glasheen" userId="c67fd889-8470-4165-8569-8911e7ff9a0a" providerId="ADAL" clId="{CF9B0DD4-2C1A-0E4A-97E2-4A9D968DFA50}" dt="2024-05-01T12:31:07.452" v="1"/>
        <pc:sldMasterMkLst>
          <pc:docMk/>
          <pc:sldMasterMk cId="102519618" sldId="2147483684"/>
        </pc:sldMasterMkLst>
      </pc:sldMasterChg>
    </pc:docChg>
  </pc:docChgLst>
  <pc:docChgLst>
    <pc:chgData name="Ray Glasheen" userId="c67fd889-8470-4165-8569-8911e7ff9a0a" providerId="ADAL" clId="{5D25A7C6-E30E-3942-9BC5-EF2995177BAF}"/>
    <pc:docChg chg="custSel modSld modMainMaster">
      <pc:chgData name="Ray Glasheen" userId="c67fd889-8470-4165-8569-8911e7ff9a0a" providerId="ADAL" clId="{5D25A7C6-E30E-3942-9BC5-EF2995177BAF}" dt="2023-04-11T12:06:29.751" v="70"/>
      <pc:docMkLst>
        <pc:docMk/>
      </pc:docMkLst>
      <pc:sldChg chg="mod setBg chgLayout modNotesTx">
        <pc:chgData name="Ray Glasheen" userId="c67fd889-8470-4165-8569-8911e7ff9a0a" providerId="ADAL" clId="{5D25A7C6-E30E-3942-9BC5-EF2995177BAF}" dt="2023-04-11T12:02:14.874" v="43" actId="700"/>
        <pc:sldMkLst>
          <pc:docMk/>
          <pc:sldMk cId="3080557386" sldId="256"/>
        </pc:sldMkLst>
      </pc:sldChg>
      <pc:sldChg chg="modSp mod setBg">
        <pc:chgData name="Ray Glasheen" userId="c67fd889-8470-4165-8569-8911e7ff9a0a" providerId="ADAL" clId="{5D25A7C6-E30E-3942-9BC5-EF2995177BAF}" dt="2023-04-11T11:17:11.305" v="30" actId="207"/>
        <pc:sldMkLst>
          <pc:docMk/>
          <pc:sldMk cId="350046711" sldId="258"/>
        </pc:sldMkLst>
      </pc:sldChg>
      <pc:sldChg chg="setBg">
        <pc:chgData name="Ray Glasheen" userId="c67fd889-8470-4165-8569-8911e7ff9a0a" providerId="ADAL" clId="{5D25A7C6-E30E-3942-9BC5-EF2995177BAF}" dt="2023-04-11T11:44:14.592" v="41"/>
        <pc:sldMkLst>
          <pc:docMk/>
          <pc:sldMk cId="3754779477" sldId="260"/>
        </pc:sldMkLst>
      </pc:sldChg>
      <pc:sldChg chg="modSp mod setBg">
        <pc:chgData name="Ray Glasheen" userId="c67fd889-8470-4165-8569-8911e7ff9a0a" providerId="ADAL" clId="{5D25A7C6-E30E-3942-9BC5-EF2995177BAF}" dt="2023-04-11T11:17:50.371" v="34" actId="207"/>
        <pc:sldMkLst>
          <pc:docMk/>
          <pc:sldMk cId="1474078492" sldId="261"/>
        </pc:sldMkLst>
      </pc:sldChg>
      <pc:sldChg chg="modSp mod setBg">
        <pc:chgData name="Ray Glasheen" userId="c67fd889-8470-4165-8569-8911e7ff9a0a" providerId="ADAL" clId="{5D25A7C6-E30E-3942-9BC5-EF2995177BAF}" dt="2023-04-11T11:17:45.949" v="33" actId="207"/>
        <pc:sldMkLst>
          <pc:docMk/>
          <pc:sldMk cId="1157289511" sldId="262"/>
        </pc:sldMkLst>
      </pc:sldChg>
      <pc:sldChg chg="setBg">
        <pc:chgData name="Ray Glasheen" userId="c67fd889-8470-4165-8569-8911e7ff9a0a" providerId="ADAL" clId="{5D25A7C6-E30E-3942-9BC5-EF2995177BAF}" dt="2023-04-11T11:15:10.553" v="18"/>
        <pc:sldMkLst>
          <pc:docMk/>
          <pc:sldMk cId="3326974690" sldId="263"/>
        </pc:sldMkLst>
      </pc:sldChg>
      <pc:sldChg chg="modSp mod setBg">
        <pc:chgData name="Ray Glasheen" userId="c67fd889-8470-4165-8569-8911e7ff9a0a" providerId="ADAL" clId="{5D25A7C6-E30E-3942-9BC5-EF2995177BAF}" dt="2023-04-11T11:18:09.039" v="36" actId="207"/>
        <pc:sldMkLst>
          <pc:docMk/>
          <pc:sldMk cId="3577289732" sldId="264"/>
        </pc:sldMkLst>
      </pc:sldChg>
      <pc:sldChg chg="modSp mod setBg">
        <pc:chgData name="Ray Glasheen" userId="c67fd889-8470-4165-8569-8911e7ff9a0a" providerId="ADAL" clId="{5D25A7C6-E30E-3942-9BC5-EF2995177BAF}" dt="2023-04-11T11:18:17.739" v="38" actId="207"/>
        <pc:sldMkLst>
          <pc:docMk/>
          <pc:sldMk cId="2735981974" sldId="265"/>
        </pc:sldMkLst>
      </pc:sldChg>
      <pc:sldChg chg="modSp mod setBg">
        <pc:chgData name="Ray Glasheen" userId="c67fd889-8470-4165-8569-8911e7ff9a0a" providerId="ADAL" clId="{5D25A7C6-E30E-3942-9BC5-EF2995177BAF}" dt="2023-04-11T11:18:20.760" v="39" actId="207"/>
        <pc:sldMkLst>
          <pc:docMk/>
          <pc:sldMk cId="998035033" sldId="266"/>
        </pc:sldMkLst>
      </pc:sldChg>
      <pc:sldChg chg="modSp mod setBg">
        <pc:chgData name="Ray Glasheen" userId="c67fd889-8470-4165-8569-8911e7ff9a0a" providerId="ADAL" clId="{5D25A7C6-E30E-3942-9BC5-EF2995177BAF}" dt="2023-04-11T11:17:34.928" v="31" actId="207"/>
        <pc:sldMkLst>
          <pc:docMk/>
          <pc:sldMk cId="391276983" sldId="267"/>
        </pc:sldMkLst>
      </pc:sldChg>
      <pc:sldChg chg="modSp mod setBg">
        <pc:chgData name="Ray Glasheen" userId="c67fd889-8470-4165-8569-8911e7ff9a0a" providerId="ADAL" clId="{5D25A7C6-E30E-3942-9BC5-EF2995177BAF}" dt="2023-04-11T11:17:39.856" v="32" actId="207"/>
        <pc:sldMkLst>
          <pc:docMk/>
          <pc:sldMk cId="1510906715" sldId="268"/>
        </pc:sldMkLst>
      </pc:sldChg>
      <pc:sldChg chg="modSp mod setBg">
        <pc:chgData name="Ray Glasheen" userId="c67fd889-8470-4165-8569-8911e7ff9a0a" providerId="ADAL" clId="{5D25A7C6-E30E-3942-9BC5-EF2995177BAF}" dt="2023-04-11T11:18:02.873" v="35" actId="207"/>
        <pc:sldMkLst>
          <pc:docMk/>
          <pc:sldMk cId="2444015328" sldId="269"/>
        </pc:sldMkLst>
      </pc:sldChg>
      <pc:sldChg chg="modSp mod setBg">
        <pc:chgData name="Ray Glasheen" userId="c67fd889-8470-4165-8569-8911e7ff9a0a" providerId="ADAL" clId="{5D25A7C6-E30E-3942-9BC5-EF2995177BAF}" dt="2023-04-11T11:18:14.463" v="37" actId="207"/>
        <pc:sldMkLst>
          <pc:docMk/>
          <pc:sldMk cId="656950007" sldId="270"/>
        </pc:sldMkLst>
      </pc:sldChg>
      <pc:sldMasterChg chg="setBg">
        <pc:chgData name="Ray Glasheen" userId="c67fd889-8470-4165-8569-8911e7ff9a0a" providerId="ADAL" clId="{5D25A7C6-E30E-3942-9BC5-EF2995177BAF}" dt="2023-04-11T12:03:30.820" v="45"/>
        <pc:sldMasterMkLst>
          <pc:docMk/>
          <pc:sldMasterMk cId="2281765972" sldId="2147483678"/>
        </pc:sldMasterMkLst>
      </pc:sldMasterChg>
      <pc:sldMasterChg chg="setBg modSldLayout">
        <pc:chgData name="Ray Glasheen" userId="c67fd889-8470-4165-8569-8911e7ff9a0a" providerId="ADAL" clId="{5D25A7C6-E30E-3942-9BC5-EF2995177BAF}" dt="2023-04-11T12:04:01.458" v="51" actId="207"/>
        <pc:sldMasterMkLst>
          <pc:docMk/>
          <pc:sldMasterMk cId="4189170703" sldId="2147483680"/>
        </pc:sldMasterMkLst>
        <pc:sldLayoutChg chg="modSp">
          <pc:chgData name="Ray Glasheen" userId="c67fd889-8470-4165-8569-8911e7ff9a0a" providerId="ADAL" clId="{5D25A7C6-E30E-3942-9BC5-EF2995177BAF}" dt="2023-04-11T12:04:01.458" v="51" actId="207"/>
          <pc:sldLayoutMkLst>
            <pc:docMk/>
            <pc:sldMasterMk cId="4189170703" sldId="2147483680"/>
            <pc:sldLayoutMk cId="1131539201" sldId="2147483681"/>
          </pc:sldLayoutMkLst>
        </pc:sldLayoutChg>
      </pc:sldMasterChg>
      <pc:sldMasterChg chg="setBg modSldLayout">
        <pc:chgData name="Ray Glasheen" userId="c67fd889-8470-4165-8569-8911e7ff9a0a" providerId="ADAL" clId="{5D25A7C6-E30E-3942-9BC5-EF2995177BAF}" dt="2023-04-11T12:06:23.664" v="68" actId="207"/>
        <pc:sldMasterMkLst>
          <pc:docMk/>
          <pc:sldMasterMk cId="1758291486" sldId="2147483682"/>
        </pc:sldMasterMkLst>
        <pc:sldLayoutChg chg="modSp">
          <pc:chgData name="Ray Glasheen" userId="c67fd889-8470-4165-8569-8911e7ff9a0a" providerId="ADAL" clId="{5D25A7C6-E30E-3942-9BC5-EF2995177BAF}" dt="2023-04-11T12:03:56.787" v="50" actId="207"/>
          <pc:sldLayoutMkLst>
            <pc:docMk/>
            <pc:sldMasterMk cId="1758291486" sldId="2147483682"/>
            <pc:sldLayoutMk cId="4187323503" sldId="2147483683"/>
          </pc:sldLayoutMkLst>
        </pc:sldLayoutChg>
        <pc:sldLayoutChg chg="modSp">
          <pc:chgData name="Ray Glasheen" userId="c67fd889-8470-4165-8569-8911e7ff9a0a" providerId="ADAL" clId="{5D25A7C6-E30E-3942-9BC5-EF2995177BAF}" dt="2023-04-11T12:06:03.867" v="63" actId="207"/>
          <pc:sldLayoutMkLst>
            <pc:docMk/>
            <pc:sldMasterMk cId="1758291486" sldId="2147483682"/>
            <pc:sldLayoutMk cId="1015417581" sldId="2147483687"/>
          </pc:sldLayoutMkLst>
        </pc:sldLayoutChg>
        <pc:sldLayoutChg chg="modSp">
          <pc:chgData name="Ray Glasheen" userId="c67fd889-8470-4165-8569-8911e7ff9a0a" providerId="ADAL" clId="{5D25A7C6-E30E-3942-9BC5-EF2995177BAF}" dt="2023-04-11T12:06:20.567" v="67" actId="207"/>
          <pc:sldLayoutMkLst>
            <pc:docMk/>
            <pc:sldMasterMk cId="1758291486" sldId="2147483682"/>
            <pc:sldLayoutMk cId="304504484" sldId="2147483688"/>
          </pc:sldLayoutMkLst>
        </pc:sldLayoutChg>
        <pc:sldLayoutChg chg="modSp">
          <pc:chgData name="Ray Glasheen" userId="c67fd889-8470-4165-8569-8911e7ff9a0a" providerId="ADAL" clId="{5D25A7C6-E30E-3942-9BC5-EF2995177BAF}" dt="2023-04-11T12:05:47.519" v="59" actId="207"/>
          <pc:sldLayoutMkLst>
            <pc:docMk/>
            <pc:sldMasterMk cId="1758291486" sldId="2147483682"/>
            <pc:sldLayoutMk cId="1999175194" sldId="2147483689"/>
          </pc:sldLayoutMkLst>
        </pc:sldLayoutChg>
        <pc:sldLayoutChg chg="modSp">
          <pc:chgData name="Ray Glasheen" userId="c67fd889-8470-4165-8569-8911e7ff9a0a" providerId="ADAL" clId="{5D25A7C6-E30E-3942-9BC5-EF2995177BAF}" dt="2023-04-11T12:06:23.664" v="68" actId="207"/>
          <pc:sldLayoutMkLst>
            <pc:docMk/>
            <pc:sldMasterMk cId="1758291486" sldId="2147483682"/>
            <pc:sldLayoutMk cId="2602732109" sldId="2147483690"/>
          </pc:sldLayoutMkLst>
        </pc:sldLayoutChg>
        <pc:sldLayoutChg chg="modSp setBg">
          <pc:chgData name="Ray Glasheen" userId="c67fd889-8470-4165-8569-8911e7ff9a0a" providerId="ADAL" clId="{5D25A7C6-E30E-3942-9BC5-EF2995177BAF}" dt="2023-04-11T12:05:42.878" v="58"/>
          <pc:sldLayoutMkLst>
            <pc:docMk/>
            <pc:sldMasterMk cId="1758291486" sldId="2147483682"/>
            <pc:sldLayoutMk cId="1865159803" sldId="2147483692"/>
          </pc:sldLayoutMkLst>
        </pc:sldLayoutChg>
        <pc:sldLayoutChg chg="modSp setBg">
          <pc:chgData name="Ray Glasheen" userId="c67fd889-8470-4165-8569-8911e7ff9a0a" providerId="ADAL" clId="{5D25A7C6-E30E-3942-9BC5-EF2995177BAF}" dt="2023-04-11T12:06:00.617" v="62" actId="207"/>
          <pc:sldLayoutMkLst>
            <pc:docMk/>
            <pc:sldMasterMk cId="1758291486" sldId="2147483682"/>
            <pc:sldLayoutMk cId="4070593789" sldId="2147483693"/>
          </pc:sldLayoutMkLst>
        </pc:sldLayoutChg>
        <pc:sldLayoutChg chg="modSp setBg">
          <pc:chgData name="Ray Glasheen" userId="c67fd889-8470-4165-8569-8911e7ff9a0a" providerId="ADAL" clId="{5D25A7C6-E30E-3942-9BC5-EF2995177BAF}" dt="2023-04-11T12:06:16.182" v="66"/>
          <pc:sldLayoutMkLst>
            <pc:docMk/>
            <pc:sldMasterMk cId="1758291486" sldId="2147483682"/>
            <pc:sldLayoutMk cId="1038442111" sldId="2147483694"/>
          </pc:sldLayoutMkLst>
        </pc:sldLayoutChg>
      </pc:sldMasterChg>
      <pc:sldMasterChg chg="setBg">
        <pc:chgData name="Ray Glasheen" userId="c67fd889-8470-4165-8569-8911e7ff9a0a" providerId="ADAL" clId="{5D25A7C6-E30E-3942-9BC5-EF2995177BAF}" dt="2023-04-11T12:06:29.751" v="70"/>
        <pc:sldMasterMkLst>
          <pc:docMk/>
          <pc:sldMasterMk cId="102519618" sldId="2147483684"/>
        </pc:sldMasterMkLst>
      </pc:sldMasterChg>
    </pc:docChg>
  </pc:docChgLst>
  <pc:docChgLst>
    <pc:chgData name="Ray Glasheen" userId="c67fd889-8470-4165-8569-8911e7ff9a0a" providerId="ADAL" clId="{35ACDB91-05C7-8044-9461-CD12E8F278C5}"/>
    <pc:docChg chg="undo custSel addSld delSld modSld modMainMaster">
      <pc:chgData name="Ray Glasheen" userId="c67fd889-8470-4165-8569-8911e7ff9a0a" providerId="ADAL" clId="{35ACDB91-05C7-8044-9461-CD12E8F278C5}" dt="2024-02-07T10:44:12.156" v="31"/>
      <pc:docMkLst>
        <pc:docMk/>
      </pc:docMkLst>
      <pc:sldChg chg="setBg">
        <pc:chgData name="Ray Glasheen" userId="c67fd889-8470-4165-8569-8911e7ff9a0a" providerId="ADAL" clId="{35ACDB91-05C7-8044-9461-CD12E8F278C5}" dt="2024-02-07T10:43:19.389" v="17"/>
        <pc:sldMkLst>
          <pc:docMk/>
          <pc:sldMk cId="3080557386" sldId="256"/>
        </pc:sldMkLst>
      </pc:sldChg>
      <pc:sldChg chg="setBg">
        <pc:chgData name="Ray Glasheen" userId="c67fd889-8470-4165-8569-8911e7ff9a0a" providerId="ADAL" clId="{35ACDB91-05C7-8044-9461-CD12E8F278C5}" dt="2024-02-07T10:43:24.414" v="19"/>
        <pc:sldMkLst>
          <pc:docMk/>
          <pc:sldMk cId="350046711" sldId="258"/>
        </pc:sldMkLst>
      </pc:sldChg>
      <pc:sldChg chg="setBg">
        <pc:chgData name="Ray Glasheen" userId="c67fd889-8470-4165-8569-8911e7ff9a0a" providerId="ADAL" clId="{35ACDB91-05C7-8044-9461-CD12E8F278C5}" dt="2024-02-07T10:44:12.156" v="31"/>
        <pc:sldMkLst>
          <pc:docMk/>
          <pc:sldMk cId="3754779477" sldId="260"/>
        </pc:sldMkLst>
      </pc:sldChg>
      <pc:sldChg chg="setBg">
        <pc:chgData name="Ray Glasheen" userId="c67fd889-8470-4165-8569-8911e7ff9a0a" providerId="ADAL" clId="{35ACDB91-05C7-8044-9461-CD12E8F278C5}" dt="2024-02-07T10:43:36.294" v="23"/>
        <pc:sldMkLst>
          <pc:docMk/>
          <pc:sldMk cId="1474078492" sldId="261"/>
        </pc:sldMkLst>
      </pc:sldChg>
      <pc:sldChg chg="setBg">
        <pc:chgData name="Ray Glasheen" userId="c67fd889-8470-4165-8569-8911e7ff9a0a" providerId="ADAL" clId="{35ACDB91-05C7-8044-9461-CD12E8F278C5}" dt="2024-02-07T10:43:56.780" v="27"/>
        <pc:sldMkLst>
          <pc:docMk/>
          <pc:sldMk cId="1157289511" sldId="262"/>
        </pc:sldMkLst>
      </pc:sldChg>
      <pc:sldChg chg="setBg">
        <pc:chgData name="Ray Glasheen" userId="c67fd889-8470-4165-8569-8911e7ff9a0a" providerId="ADAL" clId="{35ACDB91-05C7-8044-9461-CD12E8F278C5}" dt="2024-02-07T10:43:56.780" v="27"/>
        <pc:sldMkLst>
          <pc:docMk/>
          <pc:sldMk cId="3326974690" sldId="263"/>
        </pc:sldMkLst>
      </pc:sldChg>
      <pc:sldChg chg="setBg">
        <pc:chgData name="Ray Glasheen" userId="c67fd889-8470-4165-8569-8911e7ff9a0a" providerId="ADAL" clId="{35ACDB91-05C7-8044-9461-CD12E8F278C5}" dt="2024-02-07T10:43:56.780" v="27"/>
        <pc:sldMkLst>
          <pc:docMk/>
          <pc:sldMk cId="3577289732" sldId="264"/>
        </pc:sldMkLst>
      </pc:sldChg>
      <pc:sldChg chg="setBg">
        <pc:chgData name="Ray Glasheen" userId="c67fd889-8470-4165-8569-8911e7ff9a0a" providerId="ADAL" clId="{35ACDB91-05C7-8044-9461-CD12E8F278C5}" dt="2024-02-07T10:43:56.780" v="27"/>
        <pc:sldMkLst>
          <pc:docMk/>
          <pc:sldMk cId="2735981974" sldId="265"/>
        </pc:sldMkLst>
      </pc:sldChg>
      <pc:sldChg chg="setBg">
        <pc:chgData name="Ray Glasheen" userId="c67fd889-8470-4165-8569-8911e7ff9a0a" providerId="ADAL" clId="{35ACDB91-05C7-8044-9461-CD12E8F278C5}" dt="2024-02-07T10:43:56.780" v="27"/>
        <pc:sldMkLst>
          <pc:docMk/>
          <pc:sldMk cId="998035033" sldId="266"/>
        </pc:sldMkLst>
      </pc:sldChg>
      <pc:sldChg chg="setBg">
        <pc:chgData name="Ray Glasheen" userId="c67fd889-8470-4165-8569-8911e7ff9a0a" providerId="ADAL" clId="{35ACDB91-05C7-8044-9461-CD12E8F278C5}" dt="2024-02-07T10:43:30.264" v="21"/>
        <pc:sldMkLst>
          <pc:docMk/>
          <pc:sldMk cId="391276983" sldId="267"/>
        </pc:sldMkLst>
      </pc:sldChg>
      <pc:sldChg chg="setBg">
        <pc:chgData name="Ray Glasheen" userId="c67fd889-8470-4165-8569-8911e7ff9a0a" providerId="ADAL" clId="{35ACDB91-05C7-8044-9461-CD12E8F278C5}" dt="2024-02-07T10:43:42.583" v="25"/>
        <pc:sldMkLst>
          <pc:docMk/>
          <pc:sldMk cId="1510906715" sldId="268"/>
        </pc:sldMkLst>
      </pc:sldChg>
      <pc:sldChg chg="setBg">
        <pc:chgData name="Ray Glasheen" userId="c67fd889-8470-4165-8569-8911e7ff9a0a" providerId="ADAL" clId="{35ACDB91-05C7-8044-9461-CD12E8F278C5}" dt="2024-02-07T10:44:06.438" v="29"/>
        <pc:sldMkLst>
          <pc:docMk/>
          <pc:sldMk cId="2444015328" sldId="269"/>
        </pc:sldMkLst>
      </pc:sldChg>
      <pc:sldChg chg="setBg">
        <pc:chgData name="Ray Glasheen" userId="c67fd889-8470-4165-8569-8911e7ff9a0a" providerId="ADAL" clId="{35ACDB91-05C7-8044-9461-CD12E8F278C5}" dt="2024-02-07T10:44:06.438" v="29"/>
        <pc:sldMkLst>
          <pc:docMk/>
          <pc:sldMk cId="656950007" sldId="270"/>
        </pc:sldMkLst>
      </pc:sldChg>
      <pc:sldChg chg="new del">
        <pc:chgData name="Ray Glasheen" userId="c67fd889-8470-4165-8569-8911e7ff9a0a" providerId="ADAL" clId="{35ACDB91-05C7-8044-9461-CD12E8F278C5}" dt="2024-02-07T10:41:15.984" v="1" actId="680"/>
        <pc:sldMkLst>
          <pc:docMk/>
          <pc:sldMk cId="128644314" sldId="271"/>
        </pc:sldMkLst>
      </pc:sldChg>
      <pc:sldMasterChg chg="setBg">
        <pc:chgData name="Ray Glasheen" userId="c67fd889-8470-4165-8569-8911e7ff9a0a" providerId="ADAL" clId="{35ACDB91-05C7-8044-9461-CD12E8F278C5}" dt="2024-02-07T10:41:58.934" v="3"/>
        <pc:sldMasterMkLst>
          <pc:docMk/>
          <pc:sldMasterMk cId="2281765972" sldId="2147483678"/>
        </pc:sldMasterMkLst>
      </pc:sldMasterChg>
      <pc:sldMasterChg chg="setBg">
        <pc:chgData name="Ray Glasheen" userId="c67fd889-8470-4165-8569-8911e7ff9a0a" providerId="ADAL" clId="{35ACDB91-05C7-8044-9461-CD12E8F278C5}" dt="2024-02-07T10:42:05.627" v="5"/>
        <pc:sldMasterMkLst>
          <pc:docMk/>
          <pc:sldMasterMk cId="4189170703" sldId="2147483680"/>
        </pc:sldMasterMkLst>
      </pc:sldMasterChg>
      <pc:sldMasterChg chg="setBg modSldLayout">
        <pc:chgData name="Ray Glasheen" userId="c67fd889-8470-4165-8569-8911e7ff9a0a" providerId="ADAL" clId="{35ACDB91-05C7-8044-9461-CD12E8F278C5}" dt="2024-02-07T10:42:41.577" v="13"/>
        <pc:sldMasterMkLst>
          <pc:docMk/>
          <pc:sldMasterMk cId="1758291486" sldId="2147483682"/>
        </pc:sldMasterMkLst>
        <pc:sldLayoutChg chg="setBg">
          <pc:chgData name="Ray Glasheen" userId="c67fd889-8470-4165-8569-8911e7ff9a0a" providerId="ADAL" clId="{35ACDB91-05C7-8044-9461-CD12E8F278C5}" dt="2024-02-07T10:42:25.787" v="9"/>
          <pc:sldLayoutMkLst>
            <pc:docMk/>
            <pc:sldMasterMk cId="1758291486" sldId="2147483682"/>
            <pc:sldLayoutMk cId="1865159803" sldId="2147483692"/>
          </pc:sldLayoutMkLst>
        </pc:sldLayoutChg>
        <pc:sldLayoutChg chg="setBg">
          <pc:chgData name="Ray Glasheen" userId="c67fd889-8470-4165-8569-8911e7ff9a0a" providerId="ADAL" clId="{35ACDB91-05C7-8044-9461-CD12E8F278C5}" dt="2024-02-07T10:42:33.555" v="11"/>
          <pc:sldLayoutMkLst>
            <pc:docMk/>
            <pc:sldMasterMk cId="1758291486" sldId="2147483682"/>
            <pc:sldLayoutMk cId="4070593789" sldId="2147483693"/>
          </pc:sldLayoutMkLst>
        </pc:sldLayoutChg>
        <pc:sldLayoutChg chg="setBg">
          <pc:chgData name="Ray Glasheen" userId="c67fd889-8470-4165-8569-8911e7ff9a0a" providerId="ADAL" clId="{35ACDB91-05C7-8044-9461-CD12E8F278C5}" dt="2024-02-07T10:42:41.577" v="13"/>
          <pc:sldLayoutMkLst>
            <pc:docMk/>
            <pc:sldMasterMk cId="1758291486" sldId="2147483682"/>
            <pc:sldLayoutMk cId="1038442111" sldId="2147483694"/>
          </pc:sldLayoutMkLst>
        </pc:sldLayoutChg>
      </pc:sldMasterChg>
      <pc:sldMasterChg chg="setBg">
        <pc:chgData name="Ray Glasheen" userId="c67fd889-8470-4165-8569-8911e7ff9a0a" providerId="ADAL" clId="{35ACDB91-05C7-8044-9461-CD12E8F278C5}" dt="2024-02-07T10:42:49.471" v="15"/>
        <pc:sldMasterMkLst>
          <pc:docMk/>
          <pc:sldMasterMk cId="102519618" sldId="2147483684"/>
        </pc:sldMasterMkLst>
      </pc:sldMaster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image" Target="../media/image95.svg"/><Relationship Id="rId1" Type="http://schemas.openxmlformats.org/officeDocument/2006/relationships/image" Target="../media/image94.png"/><Relationship Id="rId6" Type="http://schemas.openxmlformats.org/officeDocument/2006/relationships/image" Target="../media/image99.svg"/><Relationship Id="rId11" Type="http://schemas.openxmlformats.org/officeDocument/2006/relationships/image" Target="../media/image104.png"/><Relationship Id="rId5" Type="http://schemas.openxmlformats.org/officeDocument/2006/relationships/image" Target="../media/image98.png"/><Relationship Id="rId10" Type="http://schemas.openxmlformats.org/officeDocument/2006/relationships/image" Target="../media/image103.svg"/><Relationship Id="rId4" Type="http://schemas.openxmlformats.org/officeDocument/2006/relationships/image" Target="../media/image97.svg"/><Relationship Id="rId9" Type="http://schemas.openxmlformats.org/officeDocument/2006/relationships/image" Target="../media/image102.png"/></Relationships>
</file>

<file path=ppt/diagrams/_rels/data2.xml.rels><?xml version="1.0" encoding="UTF-8" standalone="yes"?>
<Relationships xmlns="http://schemas.openxmlformats.org/package/2006/relationships"><Relationship Id="rId8" Type="http://schemas.openxmlformats.org/officeDocument/2006/relationships/image" Target="../media/image110.svg"/><Relationship Id="rId3" Type="http://schemas.openxmlformats.org/officeDocument/2006/relationships/image" Target="../media/image96.png"/><Relationship Id="rId7" Type="http://schemas.openxmlformats.org/officeDocument/2006/relationships/image" Target="../media/image109.png"/><Relationship Id="rId12" Type="http://schemas.openxmlformats.org/officeDocument/2006/relationships/image" Target="../media/image114.svg"/><Relationship Id="rId2" Type="http://schemas.openxmlformats.org/officeDocument/2006/relationships/image" Target="../media/image106.svg"/><Relationship Id="rId1" Type="http://schemas.openxmlformats.org/officeDocument/2006/relationships/image" Target="../media/image105.png"/><Relationship Id="rId6" Type="http://schemas.openxmlformats.org/officeDocument/2006/relationships/image" Target="../media/image108.svg"/><Relationship Id="rId11" Type="http://schemas.openxmlformats.org/officeDocument/2006/relationships/image" Target="../media/image113.png"/><Relationship Id="rId5" Type="http://schemas.openxmlformats.org/officeDocument/2006/relationships/image" Target="../media/image107.png"/><Relationship Id="rId10" Type="http://schemas.openxmlformats.org/officeDocument/2006/relationships/image" Target="../media/image112.svg"/><Relationship Id="rId4" Type="http://schemas.openxmlformats.org/officeDocument/2006/relationships/image" Target="../media/image97.svg"/><Relationship Id="rId9" Type="http://schemas.openxmlformats.org/officeDocument/2006/relationships/image" Target="../media/image111.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image" Target="../media/image95.svg"/><Relationship Id="rId1" Type="http://schemas.openxmlformats.org/officeDocument/2006/relationships/image" Target="../media/image94.png"/><Relationship Id="rId6" Type="http://schemas.openxmlformats.org/officeDocument/2006/relationships/image" Target="../media/image99.svg"/><Relationship Id="rId11" Type="http://schemas.openxmlformats.org/officeDocument/2006/relationships/image" Target="../media/image104.png"/><Relationship Id="rId5" Type="http://schemas.openxmlformats.org/officeDocument/2006/relationships/image" Target="../media/image98.png"/><Relationship Id="rId10" Type="http://schemas.openxmlformats.org/officeDocument/2006/relationships/image" Target="../media/image103.svg"/><Relationship Id="rId4" Type="http://schemas.openxmlformats.org/officeDocument/2006/relationships/image" Target="../media/image97.svg"/><Relationship Id="rId9" Type="http://schemas.openxmlformats.org/officeDocument/2006/relationships/image" Target="../media/image102.png"/></Relationships>
</file>

<file path=ppt/diagrams/_rels/drawing2.xml.rels><?xml version="1.0" encoding="UTF-8" standalone="yes"?>
<Relationships xmlns="http://schemas.openxmlformats.org/package/2006/relationships"><Relationship Id="rId8" Type="http://schemas.openxmlformats.org/officeDocument/2006/relationships/image" Target="../media/image110.svg"/><Relationship Id="rId3" Type="http://schemas.openxmlformats.org/officeDocument/2006/relationships/image" Target="../media/image96.png"/><Relationship Id="rId7" Type="http://schemas.openxmlformats.org/officeDocument/2006/relationships/image" Target="../media/image109.png"/><Relationship Id="rId12" Type="http://schemas.openxmlformats.org/officeDocument/2006/relationships/image" Target="../media/image114.svg"/><Relationship Id="rId2" Type="http://schemas.openxmlformats.org/officeDocument/2006/relationships/image" Target="../media/image106.svg"/><Relationship Id="rId1" Type="http://schemas.openxmlformats.org/officeDocument/2006/relationships/image" Target="../media/image105.png"/><Relationship Id="rId6" Type="http://schemas.openxmlformats.org/officeDocument/2006/relationships/image" Target="../media/image108.svg"/><Relationship Id="rId11" Type="http://schemas.openxmlformats.org/officeDocument/2006/relationships/image" Target="../media/image113.png"/><Relationship Id="rId5" Type="http://schemas.openxmlformats.org/officeDocument/2006/relationships/image" Target="../media/image107.png"/><Relationship Id="rId10" Type="http://schemas.openxmlformats.org/officeDocument/2006/relationships/image" Target="../media/image112.svg"/><Relationship Id="rId4" Type="http://schemas.openxmlformats.org/officeDocument/2006/relationships/image" Target="../media/image97.svg"/><Relationship Id="rId9" Type="http://schemas.openxmlformats.org/officeDocument/2006/relationships/image" Target="../media/image111.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284740-5D9C-4CB9-A80E-2256237ED06D}" type="doc">
      <dgm:prSet loTypeId="urn:microsoft.com/office/officeart/2018/2/layout/IconVerticalSolidList" loCatId="icon" qsTypeId="urn:microsoft.com/office/officeart/2005/8/quickstyle/simple1" qsCatId="simple" csTypeId="urn:microsoft.com/office/officeart/2005/8/colors/accent0_3" csCatId="mainScheme" phldr="1"/>
      <dgm:spPr/>
      <dgm:t>
        <a:bodyPr/>
        <a:lstStyle/>
        <a:p>
          <a:endParaRPr lang="en-US"/>
        </a:p>
      </dgm:t>
    </dgm:pt>
    <dgm:pt modelId="{28F87831-9F73-46E8-A899-A5D1E6C0F8FA}">
      <dgm:prSet/>
      <dgm:spPr/>
      <dgm:t>
        <a:bodyPr/>
        <a:lstStyle/>
        <a:p>
          <a:pPr>
            <a:lnSpc>
              <a:spcPct val="100000"/>
            </a:lnSpc>
          </a:pPr>
          <a:r>
            <a:rPr lang="en-US" b="0" i="0" baseline="0">
              <a:latin typeface="Segoe UI Light" panose="020B0502040204020203" pitchFamily="34" charset="0"/>
            </a:rPr>
            <a:t>Create from blank</a:t>
          </a:r>
          <a:endParaRPr lang="en-US" b="0" i="0">
            <a:latin typeface="Segoe UI Light" panose="020B0502040204020203" pitchFamily="34" charset="0"/>
          </a:endParaRPr>
        </a:p>
      </dgm:t>
    </dgm:pt>
    <dgm:pt modelId="{F43C922A-9C74-4D84-A092-25CEACF6A797}" type="parTrans" cxnId="{86B4484C-0AA8-4716-A92A-F7150B65D707}">
      <dgm:prSet/>
      <dgm:spPr/>
      <dgm:t>
        <a:bodyPr/>
        <a:lstStyle/>
        <a:p>
          <a:endParaRPr lang="en-US"/>
        </a:p>
      </dgm:t>
    </dgm:pt>
    <dgm:pt modelId="{30D904F6-9EF5-441E-B6D8-BA6920103DF1}" type="sibTrans" cxnId="{86B4484C-0AA8-4716-A92A-F7150B65D707}">
      <dgm:prSet/>
      <dgm:spPr/>
      <dgm:t>
        <a:bodyPr/>
        <a:lstStyle/>
        <a:p>
          <a:pPr>
            <a:lnSpc>
              <a:spcPct val="100000"/>
            </a:lnSpc>
          </a:pPr>
          <a:endParaRPr lang="en-US"/>
        </a:p>
      </dgm:t>
    </dgm:pt>
    <dgm:pt modelId="{F759548A-8F23-1148-AB3A-36BE65169F3A}">
      <dgm:prSet/>
      <dgm:spPr/>
      <dgm:t>
        <a:bodyPr/>
        <a:lstStyle/>
        <a:p>
          <a:pPr>
            <a:lnSpc>
              <a:spcPct val="100000"/>
            </a:lnSpc>
          </a:pPr>
          <a:r>
            <a:rPr lang="en-US" b="0" i="0">
              <a:latin typeface="Segoe UI Light" panose="020B0502040204020203" pitchFamily="34" charset="0"/>
            </a:rPr>
            <a:t>Create from Azure Service (Preview)</a:t>
          </a:r>
        </a:p>
      </dgm:t>
    </dgm:pt>
    <dgm:pt modelId="{6058C71F-83E7-9746-ABA1-A5F97FC10CD0}" type="parTrans" cxnId="{6463544D-DC7D-5546-B025-4C0312076A1D}">
      <dgm:prSet/>
      <dgm:spPr/>
      <dgm:t>
        <a:bodyPr/>
        <a:lstStyle/>
        <a:p>
          <a:endParaRPr lang="en-GB"/>
        </a:p>
      </dgm:t>
    </dgm:pt>
    <dgm:pt modelId="{D5DCEAAD-B9B1-624E-8FD1-4E3FB2A553F9}" type="sibTrans" cxnId="{6463544D-DC7D-5546-B025-4C0312076A1D}">
      <dgm:prSet/>
      <dgm:spPr/>
      <dgm:t>
        <a:bodyPr/>
        <a:lstStyle/>
        <a:p>
          <a:endParaRPr lang="en-GB"/>
        </a:p>
      </dgm:t>
    </dgm:pt>
    <dgm:pt modelId="{395476C8-058D-B342-AE8B-C26B3411C43E}">
      <dgm:prSet/>
      <dgm:spPr/>
      <dgm:t>
        <a:bodyPr/>
        <a:lstStyle/>
        <a:p>
          <a:pPr>
            <a:lnSpc>
              <a:spcPct val="100000"/>
            </a:lnSpc>
          </a:pPr>
          <a:r>
            <a:rPr lang="en-US" b="0" i="0">
              <a:latin typeface="Segoe UI Light" panose="020B0502040204020203" pitchFamily="34" charset="0"/>
            </a:rPr>
            <a:t>Import an </a:t>
          </a:r>
          <a:r>
            <a:rPr lang="en-US" b="0" i="0" err="1">
              <a:latin typeface="Segoe UI Light" panose="020B0502040204020203" pitchFamily="34" charset="0"/>
            </a:rPr>
            <a:t>OpenAPI</a:t>
          </a:r>
          <a:r>
            <a:rPr lang="en-US" b="0" i="0">
              <a:latin typeface="Segoe UI Light" panose="020B0502040204020203" pitchFamily="34" charset="0"/>
            </a:rPr>
            <a:t> file</a:t>
          </a:r>
        </a:p>
      </dgm:t>
    </dgm:pt>
    <dgm:pt modelId="{D714D613-3B03-C342-AB9E-D656FA43594A}" type="parTrans" cxnId="{7C12BF11-A3CF-A846-B6FC-C3DEFBD88FF3}">
      <dgm:prSet/>
      <dgm:spPr/>
      <dgm:t>
        <a:bodyPr/>
        <a:lstStyle/>
        <a:p>
          <a:endParaRPr lang="en-GB"/>
        </a:p>
      </dgm:t>
    </dgm:pt>
    <dgm:pt modelId="{07FF3CD5-B519-FC42-B8B2-7373C1F695C7}" type="sibTrans" cxnId="{7C12BF11-A3CF-A846-B6FC-C3DEFBD88FF3}">
      <dgm:prSet/>
      <dgm:spPr/>
      <dgm:t>
        <a:bodyPr/>
        <a:lstStyle/>
        <a:p>
          <a:endParaRPr lang="en-GB"/>
        </a:p>
      </dgm:t>
    </dgm:pt>
    <dgm:pt modelId="{CA6C56D4-40A3-0C4B-A36E-9453E3092583}">
      <dgm:prSet/>
      <dgm:spPr/>
      <dgm:t>
        <a:bodyPr/>
        <a:lstStyle/>
        <a:p>
          <a:pPr>
            <a:lnSpc>
              <a:spcPct val="100000"/>
            </a:lnSpc>
          </a:pPr>
          <a:r>
            <a:rPr lang="en-US" b="0" i="0">
              <a:latin typeface="Segoe UI Light" panose="020B0502040204020203" pitchFamily="34" charset="0"/>
            </a:rPr>
            <a:t>Import an </a:t>
          </a:r>
          <a:r>
            <a:rPr lang="en-US" b="0" i="0" err="1">
              <a:latin typeface="Segoe UI Light" panose="020B0502040204020203" pitchFamily="34" charset="0"/>
            </a:rPr>
            <a:t>OpenAPI</a:t>
          </a:r>
          <a:r>
            <a:rPr lang="en-US" b="0" i="0">
              <a:latin typeface="Segoe UI Light" panose="020B0502040204020203" pitchFamily="34" charset="0"/>
            </a:rPr>
            <a:t> from URL</a:t>
          </a:r>
        </a:p>
      </dgm:t>
    </dgm:pt>
    <dgm:pt modelId="{9E533490-09B5-2C45-A8D8-8A74DADBDBDD}" type="parTrans" cxnId="{557EA95E-A05C-7A4E-ABF6-A7B15CE98D49}">
      <dgm:prSet/>
      <dgm:spPr/>
      <dgm:t>
        <a:bodyPr/>
        <a:lstStyle/>
        <a:p>
          <a:endParaRPr lang="en-GB"/>
        </a:p>
      </dgm:t>
    </dgm:pt>
    <dgm:pt modelId="{6F72DD59-9D86-E548-B25B-C25931B212B2}" type="sibTrans" cxnId="{557EA95E-A05C-7A4E-ABF6-A7B15CE98D49}">
      <dgm:prSet/>
      <dgm:spPr/>
      <dgm:t>
        <a:bodyPr/>
        <a:lstStyle/>
        <a:p>
          <a:endParaRPr lang="en-GB"/>
        </a:p>
      </dgm:t>
    </dgm:pt>
    <dgm:pt modelId="{A4FC7F5C-CD47-584E-913A-DEA7812FCF8C}">
      <dgm:prSet/>
      <dgm:spPr/>
      <dgm:t>
        <a:bodyPr/>
        <a:lstStyle/>
        <a:p>
          <a:pPr>
            <a:lnSpc>
              <a:spcPct val="100000"/>
            </a:lnSpc>
          </a:pPr>
          <a:r>
            <a:rPr lang="en-US" b="0" i="0">
              <a:latin typeface="Segoe UI Light" panose="020B0502040204020203" pitchFamily="34" charset="0"/>
            </a:rPr>
            <a:t>Import a Postman collection</a:t>
          </a:r>
        </a:p>
      </dgm:t>
    </dgm:pt>
    <dgm:pt modelId="{F647AC8F-EB90-704A-946F-D78FF39D3EA2}" type="parTrans" cxnId="{208B595E-7C7D-5F46-B28A-9D74F9EAD971}">
      <dgm:prSet/>
      <dgm:spPr/>
      <dgm:t>
        <a:bodyPr/>
        <a:lstStyle/>
        <a:p>
          <a:endParaRPr lang="en-GB"/>
        </a:p>
      </dgm:t>
    </dgm:pt>
    <dgm:pt modelId="{8BC41209-98D1-3C4F-8983-A777A14D822E}" type="sibTrans" cxnId="{208B595E-7C7D-5F46-B28A-9D74F9EAD971}">
      <dgm:prSet/>
      <dgm:spPr/>
      <dgm:t>
        <a:bodyPr/>
        <a:lstStyle/>
        <a:p>
          <a:endParaRPr lang="en-GB"/>
        </a:p>
      </dgm:t>
    </dgm:pt>
    <dgm:pt modelId="{62B76224-1025-3D49-8B9A-CC6EB395A07F}">
      <dgm:prSet/>
      <dgm:spPr/>
      <dgm:t>
        <a:bodyPr/>
        <a:lstStyle/>
        <a:p>
          <a:pPr>
            <a:lnSpc>
              <a:spcPct val="100000"/>
            </a:lnSpc>
          </a:pPr>
          <a:r>
            <a:rPr lang="en-US" b="0" i="0">
              <a:latin typeface="Segoe UI Light" panose="020B0502040204020203" pitchFamily="34" charset="0"/>
            </a:rPr>
            <a:t>Import from GitHub</a:t>
          </a:r>
        </a:p>
      </dgm:t>
    </dgm:pt>
    <dgm:pt modelId="{FF94AACC-E2D4-7243-932A-27611F661904}" type="parTrans" cxnId="{605C8B7E-1DB7-EC40-AB98-9EC611CF016D}">
      <dgm:prSet/>
      <dgm:spPr/>
      <dgm:t>
        <a:bodyPr/>
        <a:lstStyle/>
        <a:p>
          <a:endParaRPr lang="en-GB"/>
        </a:p>
      </dgm:t>
    </dgm:pt>
    <dgm:pt modelId="{917A66DE-2F75-CE44-9250-E319B2E467E5}" type="sibTrans" cxnId="{605C8B7E-1DB7-EC40-AB98-9EC611CF016D}">
      <dgm:prSet/>
      <dgm:spPr/>
      <dgm:t>
        <a:bodyPr/>
        <a:lstStyle/>
        <a:p>
          <a:endParaRPr lang="en-GB"/>
        </a:p>
      </dgm:t>
    </dgm:pt>
    <dgm:pt modelId="{8893DF99-431C-4F42-B88C-FBDB9433E11B}" type="pres">
      <dgm:prSet presAssocID="{B6284740-5D9C-4CB9-A80E-2256237ED06D}" presName="root" presStyleCnt="0">
        <dgm:presLayoutVars>
          <dgm:dir/>
          <dgm:resizeHandles val="exact"/>
        </dgm:presLayoutVars>
      </dgm:prSet>
      <dgm:spPr/>
    </dgm:pt>
    <dgm:pt modelId="{97595F3B-CF39-40B6-9001-4E74048254AD}" type="pres">
      <dgm:prSet presAssocID="{28F87831-9F73-46E8-A899-A5D1E6C0F8FA}" presName="compNode" presStyleCnt="0"/>
      <dgm:spPr/>
    </dgm:pt>
    <dgm:pt modelId="{AB20D592-C47D-480E-9FCE-0B6AA553978A}" type="pres">
      <dgm:prSet presAssocID="{28F87831-9F73-46E8-A899-A5D1E6C0F8FA}" presName="bgRect" presStyleLbl="bgShp" presStyleIdx="0" presStyleCnt="6"/>
      <dgm:spPr>
        <a:solidFill>
          <a:schemeClr val="bg2"/>
        </a:solidFill>
      </dgm:spPr>
    </dgm:pt>
    <dgm:pt modelId="{0F544F2F-7B63-4213-B3D8-8A7273281936}" type="pres">
      <dgm:prSet presAssocID="{28F87831-9F73-46E8-A899-A5D1E6C0F8FA}"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New with solid fill"/>
        </a:ext>
      </dgm:extLst>
    </dgm:pt>
    <dgm:pt modelId="{B7868FB5-B477-43DE-AEEC-49C6AC93569A}" type="pres">
      <dgm:prSet presAssocID="{28F87831-9F73-46E8-A899-A5D1E6C0F8FA}" presName="spaceRect" presStyleCnt="0"/>
      <dgm:spPr/>
    </dgm:pt>
    <dgm:pt modelId="{B892899B-6826-4880-BD30-CE5A016393F8}" type="pres">
      <dgm:prSet presAssocID="{28F87831-9F73-46E8-A899-A5D1E6C0F8FA}" presName="parTx" presStyleLbl="revTx" presStyleIdx="0" presStyleCnt="6">
        <dgm:presLayoutVars>
          <dgm:chMax val="0"/>
          <dgm:chPref val="0"/>
        </dgm:presLayoutVars>
      </dgm:prSet>
      <dgm:spPr/>
    </dgm:pt>
    <dgm:pt modelId="{A61A350C-5552-0D4B-A010-BE5C01E1B483}" type="pres">
      <dgm:prSet presAssocID="{30D904F6-9EF5-441E-B6D8-BA6920103DF1}" presName="sibTrans" presStyleCnt="0"/>
      <dgm:spPr/>
    </dgm:pt>
    <dgm:pt modelId="{8713B450-C2A7-6A45-BEC3-0DB65ED59762}" type="pres">
      <dgm:prSet presAssocID="{F759548A-8F23-1148-AB3A-36BE65169F3A}" presName="compNode" presStyleCnt="0"/>
      <dgm:spPr/>
    </dgm:pt>
    <dgm:pt modelId="{4CDB3BC9-94A8-1942-A0D7-A6C018FBD8C0}" type="pres">
      <dgm:prSet presAssocID="{F759548A-8F23-1148-AB3A-36BE65169F3A}" presName="bgRect" presStyleLbl="bgShp" presStyleIdx="1" presStyleCnt="6"/>
      <dgm:spPr>
        <a:solidFill>
          <a:schemeClr val="bg2"/>
        </a:solidFill>
      </dgm:spPr>
    </dgm:pt>
    <dgm:pt modelId="{78F5EC67-82DB-3A47-BE47-F2ADC99F3A08}" type="pres">
      <dgm:prSet presAssocID="{F759548A-8F23-1148-AB3A-36BE65169F3A}" presName="iconRect" presStyleLbl="node1" presStyleIdx="1" presStyleCnt="6"/>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Rocket with solid fill"/>
        </a:ext>
      </dgm:extLst>
    </dgm:pt>
    <dgm:pt modelId="{ACD68306-3564-7F41-81F8-9F5A1B51C1C5}" type="pres">
      <dgm:prSet presAssocID="{F759548A-8F23-1148-AB3A-36BE65169F3A}" presName="spaceRect" presStyleCnt="0"/>
      <dgm:spPr/>
    </dgm:pt>
    <dgm:pt modelId="{79082CCF-919A-1445-A443-34F82F2607F2}" type="pres">
      <dgm:prSet presAssocID="{F759548A-8F23-1148-AB3A-36BE65169F3A}" presName="parTx" presStyleLbl="revTx" presStyleIdx="1" presStyleCnt="6">
        <dgm:presLayoutVars>
          <dgm:chMax val="0"/>
          <dgm:chPref val="0"/>
        </dgm:presLayoutVars>
      </dgm:prSet>
      <dgm:spPr/>
    </dgm:pt>
    <dgm:pt modelId="{744771DB-2C81-0545-BEFB-6DB44248FD2A}" type="pres">
      <dgm:prSet presAssocID="{D5DCEAAD-B9B1-624E-8FD1-4E3FB2A553F9}" presName="sibTrans" presStyleCnt="0"/>
      <dgm:spPr/>
    </dgm:pt>
    <dgm:pt modelId="{DBCFCFB7-CF67-1B44-ADA5-DA4864527DFE}" type="pres">
      <dgm:prSet presAssocID="{395476C8-058D-B342-AE8B-C26B3411C43E}" presName="compNode" presStyleCnt="0"/>
      <dgm:spPr/>
    </dgm:pt>
    <dgm:pt modelId="{B4969633-86E4-AB41-BEEF-CAF2378C4FFC}" type="pres">
      <dgm:prSet presAssocID="{395476C8-058D-B342-AE8B-C26B3411C43E}" presName="bgRect" presStyleLbl="bgShp" presStyleIdx="2" presStyleCnt="6"/>
      <dgm:spPr>
        <a:solidFill>
          <a:schemeClr val="bg2"/>
        </a:solidFill>
      </dgm:spPr>
    </dgm:pt>
    <dgm:pt modelId="{BAA21375-639A-3F41-8793-387ACBF9EA6B}" type="pres">
      <dgm:prSet presAssocID="{395476C8-058D-B342-AE8B-C26B3411C43E}"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Arrow Down with solid fill"/>
        </a:ext>
      </dgm:extLst>
    </dgm:pt>
    <dgm:pt modelId="{BB9D1799-7EFD-844C-8F8B-B1965F798118}" type="pres">
      <dgm:prSet presAssocID="{395476C8-058D-B342-AE8B-C26B3411C43E}" presName="spaceRect" presStyleCnt="0"/>
      <dgm:spPr/>
    </dgm:pt>
    <dgm:pt modelId="{1464BE0B-40F6-8D46-B696-2F043B63C4F9}" type="pres">
      <dgm:prSet presAssocID="{395476C8-058D-B342-AE8B-C26B3411C43E}" presName="parTx" presStyleLbl="revTx" presStyleIdx="2" presStyleCnt="6">
        <dgm:presLayoutVars>
          <dgm:chMax val="0"/>
          <dgm:chPref val="0"/>
        </dgm:presLayoutVars>
      </dgm:prSet>
      <dgm:spPr/>
    </dgm:pt>
    <dgm:pt modelId="{A2FB444D-6529-1C4C-B773-4BCC87E0C34A}" type="pres">
      <dgm:prSet presAssocID="{07FF3CD5-B519-FC42-B8B2-7373C1F695C7}" presName="sibTrans" presStyleCnt="0"/>
      <dgm:spPr/>
    </dgm:pt>
    <dgm:pt modelId="{00D43745-CFFC-E741-8809-AAAC66A54311}" type="pres">
      <dgm:prSet presAssocID="{CA6C56D4-40A3-0C4B-A36E-9453E3092583}" presName="compNode" presStyleCnt="0"/>
      <dgm:spPr/>
    </dgm:pt>
    <dgm:pt modelId="{9BEC0F33-85C8-F249-8219-2A26EF3935D7}" type="pres">
      <dgm:prSet presAssocID="{CA6C56D4-40A3-0C4B-A36E-9453E3092583}" presName="bgRect" presStyleLbl="bgShp" presStyleIdx="3" presStyleCnt="6"/>
      <dgm:spPr>
        <a:solidFill>
          <a:schemeClr val="bg2"/>
        </a:solidFill>
      </dgm:spPr>
    </dgm:pt>
    <dgm:pt modelId="{66DDA7D1-85F3-464F-A13A-715D7A05735B}" type="pres">
      <dgm:prSet presAssocID="{CA6C56D4-40A3-0C4B-A36E-9453E3092583}" presName="iconRect" presStyleLbl="node1" presStyleIdx="3" presStyleCnt="6"/>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Internet with solid fill"/>
        </a:ext>
      </dgm:extLst>
    </dgm:pt>
    <dgm:pt modelId="{38E8B4E4-9D44-D240-B3DA-EF2CBFF967F2}" type="pres">
      <dgm:prSet presAssocID="{CA6C56D4-40A3-0C4B-A36E-9453E3092583}" presName="spaceRect" presStyleCnt="0"/>
      <dgm:spPr/>
    </dgm:pt>
    <dgm:pt modelId="{E439FD84-2DF6-2B48-9EC9-760552FA8F7A}" type="pres">
      <dgm:prSet presAssocID="{CA6C56D4-40A3-0C4B-A36E-9453E3092583}" presName="parTx" presStyleLbl="revTx" presStyleIdx="3" presStyleCnt="6">
        <dgm:presLayoutVars>
          <dgm:chMax val="0"/>
          <dgm:chPref val="0"/>
        </dgm:presLayoutVars>
      </dgm:prSet>
      <dgm:spPr/>
    </dgm:pt>
    <dgm:pt modelId="{16BB8B05-5407-8F42-B70B-627579B87B0A}" type="pres">
      <dgm:prSet presAssocID="{6F72DD59-9D86-E548-B25B-C25931B212B2}" presName="sibTrans" presStyleCnt="0"/>
      <dgm:spPr/>
    </dgm:pt>
    <dgm:pt modelId="{499F2DEE-5224-F448-A613-2D1C4254C074}" type="pres">
      <dgm:prSet presAssocID="{A4FC7F5C-CD47-584E-913A-DEA7812FCF8C}" presName="compNode" presStyleCnt="0"/>
      <dgm:spPr/>
    </dgm:pt>
    <dgm:pt modelId="{DEBA26BF-3BEB-0B4C-9FF0-E194176C0F71}" type="pres">
      <dgm:prSet presAssocID="{A4FC7F5C-CD47-584E-913A-DEA7812FCF8C}" presName="bgRect" presStyleLbl="bgShp" presStyleIdx="4" presStyleCnt="6"/>
      <dgm:spPr>
        <a:solidFill>
          <a:schemeClr val="bg2"/>
        </a:solidFill>
      </dgm:spPr>
    </dgm:pt>
    <dgm:pt modelId="{A7BA3752-C53F-CC4D-9971-45D05F271C60}" type="pres">
      <dgm:prSet presAssocID="{A4FC7F5C-CD47-584E-913A-DEA7812FCF8C}"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Mailbox with solid fill"/>
        </a:ext>
      </dgm:extLst>
    </dgm:pt>
    <dgm:pt modelId="{9EC82767-128E-244F-973F-7FEC0A67F6CE}" type="pres">
      <dgm:prSet presAssocID="{A4FC7F5C-CD47-584E-913A-DEA7812FCF8C}" presName="spaceRect" presStyleCnt="0"/>
      <dgm:spPr/>
    </dgm:pt>
    <dgm:pt modelId="{D3EE60BA-FF61-404F-A1E3-0F4CED78D285}" type="pres">
      <dgm:prSet presAssocID="{A4FC7F5C-CD47-584E-913A-DEA7812FCF8C}" presName="parTx" presStyleLbl="revTx" presStyleIdx="4" presStyleCnt="6">
        <dgm:presLayoutVars>
          <dgm:chMax val="0"/>
          <dgm:chPref val="0"/>
        </dgm:presLayoutVars>
      </dgm:prSet>
      <dgm:spPr/>
    </dgm:pt>
    <dgm:pt modelId="{57DD7F64-F539-EC4A-97C3-263E4B45C64A}" type="pres">
      <dgm:prSet presAssocID="{8BC41209-98D1-3C4F-8983-A777A14D822E}" presName="sibTrans" presStyleCnt="0"/>
      <dgm:spPr/>
    </dgm:pt>
    <dgm:pt modelId="{2EB44B44-F736-014E-B8FB-A7299B6A236E}" type="pres">
      <dgm:prSet presAssocID="{62B76224-1025-3D49-8B9A-CC6EB395A07F}" presName="compNode" presStyleCnt="0"/>
      <dgm:spPr/>
    </dgm:pt>
    <dgm:pt modelId="{A4D0A183-46B9-9346-94F0-9738B4929113}" type="pres">
      <dgm:prSet presAssocID="{62B76224-1025-3D49-8B9A-CC6EB395A07F}" presName="bgRect" presStyleLbl="bgShp" presStyleIdx="5" presStyleCnt="6"/>
      <dgm:spPr>
        <a:solidFill>
          <a:schemeClr val="bg2"/>
        </a:solidFill>
      </dgm:spPr>
    </dgm:pt>
    <dgm:pt modelId="{88313EBB-02AE-F348-BDDE-07C72027FDDA}" type="pres">
      <dgm:prSet presAssocID="{62B76224-1025-3D49-8B9A-CC6EB395A07F}" presName="iconRect" presStyleLbl="node1" presStyleIdx="5" presStyleCnt="6"/>
      <dgm:spPr>
        <a:blipFill>
          <a:blip xmlns:r="http://schemas.openxmlformats.org/officeDocument/2006/relationships" r:embed="rId11"/>
          <a:srcRect/>
          <a:stretch>
            <a:fillRect/>
          </a:stretch>
        </a:blipFill>
      </dgm:spPr>
    </dgm:pt>
    <dgm:pt modelId="{D1FA8FDC-5A7D-5F48-99E9-2953E5062844}" type="pres">
      <dgm:prSet presAssocID="{62B76224-1025-3D49-8B9A-CC6EB395A07F}" presName="spaceRect" presStyleCnt="0"/>
      <dgm:spPr/>
    </dgm:pt>
    <dgm:pt modelId="{7878AE0B-B1AD-ED4F-84ED-6CA895FE53E6}" type="pres">
      <dgm:prSet presAssocID="{62B76224-1025-3D49-8B9A-CC6EB395A07F}" presName="parTx" presStyleLbl="revTx" presStyleIdx="5" presStyleCnt="6">
        <dgm:presLayoutVars>
          <dgm:chMax val="0"/>
          <dgm:chPref val="0"/>
        </dgm:presLayoutVars>
      </dgm:prSet>
      <dgm:spPr/>
    </dgm:pt>
  </dgm:ptLst>
  <dgm:cxnLst>
    <dgm:cxn modelId="{E855C301-9E0B-4BC9-81B5-819CDB5CE8A9}" type="presOf" srcId="{28F87831-9F73-46E8-A899-A5D1E6C0F8FA}" destId="{B892899B-6826-4880-BD30-CE5A016393F8}" srcOrd="0" destOrd="0" presId="urn:microsoft.com/office/officeart/2018/2/layout/IconVerticalSolidList"/>
    <dgm:cxn modelId="{7C12BF11-A3CF-A846-B6FC-C3DEFBD88FF3}" srcId="{B6284740-5D9C-4CB9-A80E-2256237ED06D}" destId="{395476C8-058D-B342-AE8B-C26B3411C43E}" srcOrd="2" destOrd="0" parTransId="{D714D613-3B03-C342-AB9E-D656FA43594A}" sibTransId="{07FF3CD5-B519-FC42-B8B2-7373C1F695C7}"/>
    <dgm:cxn modelId="{262DDE11-63E7-5541-B089-8C15F58EAD4B}" type="presOf" srcId="{395476C8-058D-B342-AE8B-C26B3411C43E}" destId="{1464BE0B-40F6-8D46-B696-2F043B63C4F9}" srcOrd="0" destOrd="0" presId="urn:microsoft.com/office/officeart/2018/2/layout/IconVerticalSolidList"/>
    <dgm:cxn modelId="{BEC13916-4482-4AEB-A068-B3F2F650AD53}" type="presOf" srcId="{B6284740-5D9C-4CB9-A80E-2256237ED06D}" destId="{8893DF99-431C-4F42-B88C-FBDB9433E11B}" srcOrd="0" destOrd="0" presId="urn:microsoft.com/office/officeart/2018/2/layout/IconVerticalSolidList"/>
    <dgm:cxn modelId="{208B595E-7C7D-5F46-B28A-9D74F9EAD971}" srcId="{B6284740-5D9C-4CB9-A80E-2256237ED06D}" destId="{A4FC7F5C-CD47-584E-913A-DEA7812FCF8C}" srcOrd="4" destOrd="0" parTransId="{F647AC8F-EB90-704A-946F-D78FF39D3EA2}" sibTransId="{8BC41209-98D1-3C4F-8983-A777A14D822E}"/>
    <dgm:cxn modelId="{557EA95E-A05C-7A4E-ABF6-A7B15CE98D49}" srcId="{B6284740-5D9C-4CB9-A80E-2256237ED06D}" destId="{CA6C56D4-40A3-0C4B-A36E-9453E3092583}" srcOrd="3" destOrd="0" parTransId="{9E533490-09B5-2C45-A8D8-8A74DADBDBDD}" sibTransId="{6F72DD59-9D86-E548-B25B-C25931B212B2}"/>
    <dgm:cxn modelId="{28884460-5282-9A49-A89D-60E656EEA658}" type="presOf" srcId="{CA6C56D4-40A3-0C4B-A36E-9453E3092583}" destId="{E439FD84-2DF6-2B48-9EC9-760552FA8F7A}" srcOrd="0" destOrd="0" presId="urn:microsoft.com/office/officeart/2018/2/layout/IconVerticalSolidList"/>
    <dgm:cxn modelId="{86B4484C-0AA8-4716-A92A-F7150B65D707}" srcId="{B6284740-5D9C-4CB9-A80E-2256237ED06D}" destId="{28F87831-9F73-46E8-A899-A5D1E6C0F8FA}" srcOrd="0" destOrd="0" parTransId="{F43C922A-9C74-4D84-A092-25CEACF6A797}" sibTransId="{30D904F6-9EF5-441E-B6D8-BA6920103DF1}"/>
    <dgm:cxn modelId="{6463544D-DC7D-5546-B025-4C0312076A1D}" srcId="{B6284740-5D9C-4CB9-A80E-2256237ED06D}" destId="{F759548A-8F23-1148-AB3A-36BE65169F3A}" srcOrd="1" destOrd="0" parTransId="{6058C71F-83E7-9746-ABA1-A5F97FC10CD0}" sibTransId="{D5DCEAAD-B9B1-624E-8FD1-4E3FB2A553F9}"/>
    <dgm:cxn modelId="{605C8B7E-1DB7-EC40-AB98-9EC611CF016D}" srcId="{B6284740-5D9C-4CB9-A80E-2256237ED06D}" destId="{62B76224-1025-3D49-8B9A-CC6EB395A07F}" srcOrd="5" destOrd="0" parTransId="{FF94AACC-E2D4-7243-932A-27611F661904}" sibTransId="{917A66DE-2F75-CE44-9250-E319B2E467E5}"/>
    <dgm:cxn modelId="{533A1E89-FA43-DB47-BB8A-E902CA49EDC2}" type="presOf" srcId="{A4FC7F5C-CD47-584E-913A-DEA7812FCF8C}" destId="{D3EE60BA-FF61-404F-A1E3-0F4CED78D285}" srcOrd="0" destOrd="0" presId="urn:microsoft.com/office/officeart/2018/2/layout/IconVerticalSolidList"/>
    <dgm:cxn modelId="{E71E7498-EA44-0647-BF4F-2885F8B69787}" type="presOf" srcId="{62B76224-1025-3D49-8B9A-CC6EB395A07F}" destId="{7878AE0B-B1AD-ED4F-84ED-6CA895FE53E6}" srcOrd="0" destOrd="0" presId="urn:microsoft.com/office/officeart/2018/2/layout/IconVerticalSolidList"/>
    <dgm:cxn modelId="{66B313E5-1E14-7748-B23A-DF17363DC6E8}" type="presOf" srcId="{F759548A-8F23-1148-AB3A-36BE65169F3A}" destId="{79082CCF-919A-1445-A443-34F82F2607F2}" srcOrd="0" destOrd="0" presId="urn:microsoft.com/office/officeart/2018/2/layout/IconVerticalSolidList"/>
    <dgm:cxn modelId="{CA71A53F-0927-4917-877E-5186ED4F5047}" type="presParOf" srcId="{8893DF99-431C-4F42-B88C-FBDB9433E11B}" destId="{97595F3B-CF39-40B6-9001-4E74048254AD}" srcOrd="0" destOrd="0" presId="urn:microsoft.com/office/officeart/2018/2/layout/IconVerticalSolidList"/>
    <dgm:cxn modelId="{713EFADD-C635-4B74-92FC-6000B94AC2B5}" type="presParOf" srcId="{97595F3B-CF39-40B6-9001-4E74048254AD}" destId="{AB20D592-C47D-480E-9FCE-0B6AA553978A}" srcOrd="0" destOrd="0" presId="urn:microsoft.com/office/officeart/2018/2/layout/IconVerticalSolidList"/>
    <dgm:cxn modelId="{3A31F705-91E3-4791-8181-FA0F4D4B3DC9}" type="presParOf" srcId="{97595F3B-CF39-40B6-9001-4E74048254AD}" destId="{0F544F2F-7B63-4213-B3D8-8A7273281936}" srcOrd="1" destOrd="0" presId="urn:microsoft.com/office/officeart/2018/2/layout/IconVerticalSolidList"/>
    <dgm:cxn modelId="{66574733-CF17-41E3-863C-6136ACA76BFE}" type="presParOf" srcId="{97595F3B-CF39-40B6-9001-4E74048254AD}" destId="{B7868FB5-B477-43DE-AEEC-49C6AC93569A}" srcOrd="2" destOrd="0" presId="urn:microsoft.com/office/officeart/2018/2/layout/IconVerticalSolidList"/>
    <dgm:cxn modelId="{4CC15D3B-8368-4174-A33B-C215C5B57C45}" type="presParOf" srcId="{97595F3B-CF39-40B6-9001-4E74048254AD}" destId="{B892899B-6826-4880-BD30-CE5A016393F8}" srcOrd="3" destOrd="0" presId="urn:microsoft.com/office/officeart/2018/2/layout/IconVerticalSolidList"/>
    <dgm:cxn modelId="{0889860B-24A7-E04B-9D94-720319C058F5}" type="presParOf" srcId="{8893DF99-431C-4F42-B88C-FBDB9433E11B}" destId="{A61A350C-5552-0D4B-A010-BE5C01E1B483}" srcOrd="1" destOrd="0" presId="urn:microsoft.com/office/officeart/2018/2/layout/IconVerticalSolidList"/>
    <dgm:cxn modelId="{D81D7851-D9E4-584D-9AFD-C1C3C008353E}" type="presParOf" srcId="{8893DF99-431C-4F42-B88C-FBDB9433E11B}" destId="{8713B450-C2A7-6A45-BEC3-0DB65ED59762}" srcOrd="2" destOrd="0" presId="urn:microsoft.com/office/officeart/2018/2/layout/IconVerticalSolidList"/>
    <dgm:cxn modelId="{3B4BC3EA-F49C-A24A-9672-D06C39789F6B}" type="presParOf" srcId="{8713B450-C2A7-6A45-BEC3-0DB65ED59762}" destId="{4CDB3BC9-94A8-1942-A0D7-A6C018FBD8C0}" srcOrd="0" destOrd="0" presId="urn:microsoft.com/office/officeart/2018/2/layout/IconVerticalSolidList"/>
    <dgm:cxn modelId="{A0FC783B-02B5-CD40-92EA-A8E437E6D478}" type="presParOf" srcId="{8713B450-C2A7-6A45-BEC3-0DB65ED59762}" destId="{78F5EC67-82DB-3A47-BE47-F2ADC99F3A08}" srcOrd="1" destOrd="0" presId="urn:microsoft.com/office/officeart/2018/2/layout/IconVerticalSolidList"/>
    <dgm:cxn modelId="{346D7E78-BD4C-CB44-9BCE-603D83E44D20}" type="presParOf" srcId="{8713B450-C2A7-6A45-BEC3-0DB65ED59762}" destId="{ACD68306-3564-7F41-81F8-9F5A1B51C1C5}" srcOrd="2" destOrd="0" presId="urn:microsoft.com/office/officeart/2018/2/layout/IconVerticalSolidList"/>
    <dgm:cxn modelId="{8C3106E3-645A-7446-B842-4CA99BFB9C06}" type="presParOf" srcId="{8713B450-C2A7-6A45-BEC3-0DB65ED59762}" destId="{79082CCF-919A-1445-A443-34F82F2607F2}" srcOrd="3" destOrd="0" presId="urn:microsoft.com/office/officeart/2018/2/layout/IconVerticalSolidList"/>
    <dgm:cxn modelId="{D3015065-0F24-0349-9B89-B2DE919390F9}" type="presParOf" srcId="{8893DF99-431C-4F42-B88C-FBDB9433E11B}" destId="{744771DB-2C81-0545-BEFB-6DB44248FD2A}" srcOrd="3" destOrd="0" presId="urn:microsoft.com/office/officeart/2018/2/layout/IconVerticalSolidList"/>
    <dgm:cxn modelId="{A54E426C-28D0-1848-8094-4245A5EF5E2C}" type="presParOf" srcId="{8893DF99-431C-4F42-B88C-FBDB9433E11B}" destId="{DBCFCFB7-CF67-1B44-ADA5-DA4864527DFE}" srcOrd="4" destOrd="0" presId="urn:microsoft.com/office/officeart/2018/2/layout/IconVerticalSolidList"/>
    <dgm:cxn modelId="{652E5EEF-C13C-3145-AA2F-9B883F73A899}" type="presParOf" srcId="{DBCFCFB7-CF67-1B44-ADA5-DA4864527DFE}" destId="{B4969633-86E4-AB41-BEEF-CAF2378C4FFC}" srcOrd="0" destOrd="0" presId="urn:microsoft.com/office/officeart/2018/2/layout/IconVerticalSolidList"/>
    <dgm:cxn modelId="{592E3963-8BEC-8745-A587-F231F516EF5F}" type="presParOf" srcId="{DBCFCFB7-CF67-1B44-ADA5-DA4864527DFE}" destId="{BAA21375-639A-3F41-8793-387ACBF9EA6B}" srcOrd="1" destOrd="0" presId="urn:microsoft.com/office/officeart/2018/2/layout/IconVerticalSolidList"/>
    <dgm:cxn modelId="{87E90766-97C5-AA43-897B-0A8921A65315}" type="presParOf" srcId="{DBCFCFB7-CF67-1B44-ADA5-DA4864527DFE}" destId="{BB9D1799-7EFD-844C-8F8B-B1965F798118}" srcOrd="2" destOrd="0" presId="urn:microsoft.com/office/officeart/2018/2/layout/IconVerticalSolidList"/>
    <dgm:cxn modelId="{515EA71F-9738-4147-A166-1B62D830CA1E}" type="presParOf" srcId="{DBCFCFB7-CF67-1B44-ADA5-DA4864527DFE}" destId="{1464BE0B-40F6-8D46-B696-2F043B63C4F9}" srcOrd="3" destOrd="0" presId="urn:microsoft.com/office/officeart/2018/2/layout/IconVerticalSolidList"/>
    <dgm:cxn modelId="{AEDFB38D-6260-2D4D-8834-D8A4AC31CBB6}" type="presParOf" srcId="{8893DF99-431C-4F42-B88C-FBDB9433E11B}" destId="{A2FB444D-6529-1C4C-B773-4BCC87E0C34A}" srcOrd="5" destOrd="0" presId="urn:microsoft.com/office/officeart/2018/2/layout/IconVerticalSolidList"/>
    <dgm:cxn modelId="{FC1834C0-AC65-C448-973D-FB8327039C97}" type="presParOf" srcId="{8893DF99-431C-4F42-B88C-FBDB9433E11B}" destId="{00D43745-CFFC-E741-8809-AAAC66A54311}" srcOrd="6" destOrd="0" presId="urn:microsoft.com/office/officeart/2018/2/layout/IconVerticalSolidList"/>
    <dgm:cxn modelId="{DA2100CB-ADE2-024C-AAC2-A04548D8B616}" type="presParOf" srcId="{00D43745-CFFC-E741-8809-AAAC66A54311}" destId="{9BEC0F33-85C8-F249-8219-2A26EF3935D7}" srcOrd="0" destOrd="0" presId="urn:microsoft.com/office/officeart/2018/2/layout/IconVerticalSolidList"/>
    <dgm:cxn modelId="{1540D07D-37DD-AF4B-8E73-21D0B6B27ED1}" type="presParOf" srcId="{00D43745-CFFC-E741-8809-AAAC66A54311}" destId="{66DDA7D1-85F3-464F-A13A-715D7A05735B}" srcOrd="1" destOrd="0" presId="urn:microsoft.com/office/officeart/2018/2/layout/IconVerticalSolidList"/>
    <dgm:cxn modelId="{5547BA3F-25F9-9E46-BEC4-8F2272299915}" type="presParOf" srcId="{00D43745-CFFC-E741-8809-AAAC66A54311}" destId="{38E8B4E4-9D44-D240-B3DA-EF2CBFF967F2}" srcOrd="2" destOrd="0" presId="urn:microsoft.com/office/officeart/2018/2/layout/IconVerticalSolidList"/>
    <dgm:cxn modelId="{2226CD36-BE27-DD43-8E1F-BC466698FD97}" type="presParOf" srcId="{00D43745-CFFC-E741-8809-AAAC66A54311}" destId="{E439FD84-2DF6-2B48-9EC9-760552FA8F7A}" srcOrd="3" destOrd="0" presId="urn:microsoft.com/office/officeart/2018/2/layout/IconVerticalSolidList"/>
    <dgm:cxn modelId="{BCCD91D9-3CE6-5A46-8822-4C13F8D516C8}" type="presParOf" srcId="{8893DF99-431C-4F42-B88C-FBDB9433E11B}" destId="{16BB8B05-5407-8F42-B70B-627579B87B0A}" srcOrd="7" destOrd="0" presId="urn:microsoft.com/office/officeart/2018/2/layout/IconVerticalSolidList"/>
    <dgm:cxn modelId="{AA2330F6-E73A-C444-92A0-D87E607F404B}" type="presParOf" srcId="{8893DF99-431C-4F42-B88C-FBDB9433E11B}" destId="{499F2DEE-5224-F448-A613-2D1C4254C074}" srcOrd="8" destOrd="0" presId="urn:microsoft.com/office/officeart/2018/2/layout/IconVerticalSolidList"/>
    <dgm:cxn modelId="{3B4F49B0-B20D-0449-967C-DFBAA296ABD8}" type="presParOf" srcId="{499F2DEE-5224-F448-A613-2D1C4254C074}" destId="{DEBA26BF-3BEB-0B4C-9FF0-E194176C0F71}" srcOrd="0" destOrd="0" presId="urn:microsoft.com/office/officeart/2018/2/layout/IconVerticalSolidList"/>
    <dgm:cxn modelId="{846FE7C0-A3BC-4041-8A90-A38D76D57EB1}" type="presParOf" srcId="{499F2DEE-5224-F448-A613-2D1C4254C074}" destId="{A7BA3752-C53F-CC4D-9971-45D05F271C60}" srcOrd="1" destOrd="0" presId="urn:microsoft.com/office/officeart/2018/2/layout/IconVerticalSolidList"/>
    <dgm:cxn modelId="{BC91E1C7-47AC-824C-8A7B-91656B5AB677}" type="presParOf" srcId="{499F2DEE-5224-F448-A613-2D1C4254C074}" destId="{9EC82767-128E-244F-973F-7FEC0A67F6CE}" srcOrd="2" destOrd="0" presId="urn:microsoft.com/office/officeart/2018/2/layout/IconVerticalSolidList"/>
    <dgm:cxn modelId="{48E6D71D-112A-0045-BCA3-34AAB58C98C2}" type="presParOf" srcId="{499F2DEE-5224-F448-A613-2D1C4254C074}" destId="{D3EE60BA-FF61-404F-A1E3-0F4CED78D285}" srcOrd="3" destOrd="0" presId="urn:microsoft.com/office/officeart/2018/2/layout/IconVerticalSolidList"/>
    <dgm:cxn modelId="{62162735-2A82-014F-B18B-72A7ED8784F5}" type="presParOf" srcId="{8893DF99-431C-4F42-B88C-FBDB9433E11B}" destId="{57DD7F64-F539-EC4A-97C3-263E4B45C64A}" srcOrd="9" destOrd="0" presId="urn:microsoft.com/office/officeart/2018/2/layout/IconVerticalSolidList"/>
    <dgm:cxn modelId="{396B7C12-5F08-FB40-8202-46C8EC687236}" type="presParOf" srcId="{8893DF99-431C-4F42-B88C-FBDB9433E11B}" destId="{2EB44B44-F736-014E-B8FB-A7299B6A236E}" srcOrd="10" destOrd="0" presId="urn:microsoft.com/office/officeart/2018/2/layout/IconVerticalSolidList"/>
    <dgm:cxn modelId="{CA98D955-3CC9-C245-81E1-5423CC3851DB}" type="presParOf" srcId="{2EB44B44-F736-014E-B8FB-A7299B6A236E}" destId="{A4D0A183-46B9-9346-94F0-9738B4929113}" srcOrd="0" destOrd="0" presId="urn:microsoft.com/office/officeart/2018/2/layout/IconVerticalSolidList"/>
    <dgm:cxn modelId="{522E35B8-5B50-A946-8CB9-8E00A63261D0}" type="presParOf" srcId="{2EB44B44-F736-014E-B8FB-A7299B6A236E}" destId="{88313EBB-02AE-F348-BDDE-07C72027FDDA}" srcOrd="1" destOrd="0" presId="urn:microsoft.com/office/officeart/2018/2/layout/IconVerticalSolidList"/>
    <dgm:cxn modelId="{37B490A7-5714-D343-B71E-A2B7AC00F99D}" type="presParOf" srcId="{2EB44B44-F736-014E-B8FB-A7299B6A236E}" destId="{D1FA8FDC-5A7D-5F48-99E9-2953E5062844}" srcOrd="2" destOrd="0" presId="urn:microsoft.com/office/officeart/2018/2/layout/IconVerticalSolidList"/>
    <dgm:cxn modelId="{9A860CF1-FD77-3E4D-8919-714008E4CEBD}" type="presParOf" srcId="{2EB44B44-F736-014E-B8FB-A7299B6A236E}" destId="{7878AE0B-B1AD-ED4F-84ED-6CA895FE53E6}"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6284740-5D9C-4CB9-A80E-2256237ED06D}" type="doc">
      <dgm:prSet loTypeId="urn:microsoft.com/office/officeart/2018/2/layout/IconVerticalSolidList" loCatId="icon" qsTypeId="urn:microsoft.com/office/officeart/2005/8/quickstyle/simple1" qsCatId="simple" csTypeId="urn:microsoft.com/office/officeart/2005/8/colors/accent0_3" csCatId="mainScheme" phldr="1"/>
      <dgm:spPr/>
      <dgm:t>
        <a:bodyPr/>
        <a:lstStyle/>
        <a:p>
          <a:endParaRPr lang="en-US"/>
        </a:p>
      </dgm:t>
    </dgm:pt>
    <dgm:pt modelId="{28F87831-9F73-46E8-A899-A5D1E6C0F8FA}">
      <dgm:prSet/>
      <dgm:spPr/>
      <dgm:t>
        <a:bodyPr/>
        <a:lstStyle/>
        <a:p>
          <a:pPr>
            <a:lnSpc>
              <a:spcPct val="100000"/>
            </a:lnSpc>
          </a:pPr>
          <a:r>
            <a:rPr lang="en-US" b="0" i="0" baseline="0" dirty="0">
              <a:latin typeface="Segoe UI Light" panose="020B0502040204020203" pitchFamily="34" charset="0"/>
            </a:rPr>
            <a:t>Read the docs / know the API you want to build the connector for</a:t>
          </a:r>
          <a:endParaRPr lang="en-US" b="0" i="0" dirty="0">
            <a:latin typeface="Segoe UI Light" panose="020B0502040204020203" pitchFamily="34" charset="0"/>
          </a:endParaRPr>
        </a:p>
      </dgm:t>
    </dgm:pt>
    <dgm:pt modelId="{F43C922A-9C74-4D84-A092-25CEACF6A797}" type="parTrans" cxnId="{86B4484C-0AA8-4716-A92A-F7150B65D707}">
      <dgm:prSet/>
      <dgm:spPr/>
      <dgm:t>
        <a:bodyPr/>
        <a:lstStyle/>
        <a:p>
          <a:endParaRPr lang="en-US"/>
        </a:p>
      </dgm:t>
    </dgm:pt>
    <dgm:pt modelId="{30D904F6-9EF5-441E-B6D8-BA6920103DF1}" type="sibTrans" cxnId="{86B4484C-0AA8-4716-A92A-F7150B65D707}">
      <dgm:prSet/>
      <dgm:spPr/>
      <dgm:t>
        <a:bodyPr/>
        <a:lstStyle/>
        <a:p>
          <a:pPr>
            <a:lnSpc>
              <a:spcPct val="100000"/>
            </a:lnSpc>
          </a:pPr>
          <a:endParaRPr lang="en-US"/>
        </a:p>
      </dgm:t>
    </dgm:pt>
    <dgm:pt modelId="{F759548A-8F23-1148-AB3A-36BE65169F3A}">
      <dgm:prSet/>
      <dgm:spPr/>
      <dgm:t>
        <a:bodyPr/>
        <a:lstStyle/>
        <a:p>
          <a:pPr>
            <a:lnSpc>
              <a:spcPct val="100000"/>
            </a:lnSpc>
          </a:pPr>
          <a:r>
            <a:rPr lang="en-US" b="0" i="0">
              <a:latin typeface="Segoe UI Light" panose="020B0502040204020203" pitchFamily="34" charset="0"/>
            </a:rPr>
            <a:t>Start in one of the products (Power Apps, Power Automate or Logic Apps)</a:t>
          </a:r>
        </a:p>
      </dgm:t>
    </dgm:pt>
    <dgm:pt modelId="{6058C71F-83E7-9746-ABA1-A5F97FC10CD0}" type="parTrans" cxnId="{6463544D-DC7D-5546-B025-4C0312076A1D}">
      <dgm:prSet/>
      <dgm:spPr/>
      <dgm:t>
        <a:bodyPr/>
        <a:lstStyle/>
        <a:p>
          <a:endParaRPr lang="en-GB"/>
        </a:p>
      </dgm:t>
    </dgm:pt>
    <dgm:pt modelId="{D5DCEAAD-B9B1-624E-8FD1-4E3FB2A553F9}" type="sibTrans" cxnId="{6463544D-DC7D-5546-B025-4C0312076A1D}">
      <dgm:prSet/>
      <dgm:spPr/>
      <dgm:t>
        <a:bodyPr/>
        <a:lstStyle/>
        <a:p>
          <a:endParaRPr lang="en-GB"/>
        </a:p>
      </dgm:t>
    </dgm:pt>
    <dgm:pt modelId="{395476C8-058D-B342-AE8B-C26B3411C43E}">
      <dgm:prSet/>
      <dgm:spPr/>
      <dgm:t>
        <a:bodyPr/>
        <a:lstStyle/>
        <a:p>
          <a:pPr>
            <a:lnSpc>
              <a:spcPct val="100000"/>
            </a:lnSpc>
          </a:pPr>
          <a:r>
            <a:rPr lang="en-US" b="0" i="0">
              <a:latin typeface="Segoe UI Light" panose="020B0502040204020203" pitchFamily="34" charset="0"/>
            </a:rPr>
            <a:t>Set up the authentication</a:t>
          </a:r>
        </a:p>
      </dgm:t>
    </dgm:pt>
    <dgm:pt modelId="{D714D613-3B03-C342-AB9E-D656FA43594A}" type="parTrans" cxnId="{7C12BF11-A3CF-A846-B6FC-C3DEFBD88FF3}">
      <dgm:prSet/>
      <dgm:spPr/>
      <dgm:t>
        <a:bodyPr/>
        <a:lstStyle/>
        <a:p>
          <a:endParaRPr lang="en-GB"/>
        </a:p>
      </dgm:t>
    </dgm:pt>
    <dgm:pt modelId="{07FF3CD5-B519-FC42-B8B2-7373C1F695C7}" type="sibTrans" cxnId="{7C12BF11-A3CF-A846-B6FC-C3DEFBD88FF3}">
      <dgm:prSet/>
      <dgm:spPr/>
      <dgm:t>
        <a:bodyPr/>
        <a:lstStyle/>
        <a:p>
          <a:endParaRPr lang="en-GB"/>
        </a:p>
      </dgm:t>
    </dgm:pt>
    <dgm:pt modelId="{CA6C56D4-40A3-0C4B-A36E-9453E3092583}">
      <dgm:prSet/>
      <dgm:spPr/>
      <dgm:t>
        <a:bodyPr/>
        <a:lstStyle/>
        <a:p>
          <a:pPr>
            <a:lnSpc>
              <a:spcPct val="100000"/>
            </a:lnSpc>
          </a:pPr>
          <a:r>
            <a:rPr lang="en-US" b="0" i="0">
              <a:latin typeface="Segoe UI Light" panose="020B0502040204020203" pitchFamily="34" charset="0"/>
            </a:rPr>
            <a:t>Define the operations (triggers / actions) for your connector</a:t>
          </a:r>
        </a:p>
      </dgm:t>
    </dgm:pt>
    <dgm:pt modelId="{9E533490-09B5-2C45-A8D8-8A74DADBDBDD}" type="parTrans" cxnId="{557EA95E-A05C-7A4E-ABF6-A7B15CE98D49}">
      <dgm:prSet/>
      <dgm:spPr/>
      <dgm:t>
        <a:bodyPr/>
        <a:lstStyle/>
        <a:p>
          <a:endParaRPr lang="en-GB"/>
        </a:p>
      </dgm:t>
    </dgm:pt>
    <dgm:pt modelId="{6F72DD59-9D86-E548-B25B-C25931B212B2}" type="sibTrans" cxnId="{557EA95E-A05C-7A4E-ABF6-A7B15CE98D49}">
      <dgm:prSet/>
      <dgm:spPr/>
      <dgm:t>
        <a:bodyPr/>
        <a:lstStyle/>
        <a:p>
          <a:endParaRPr lang="en-GB"/>
        </a:p>
      </dgm:t>
    </dgm:pt>
    <dgm:pt modelId="{A4FC7F5C-CD47-584E-913A-DEA7812FCF8C}">
      <dgm:prSet/>
      <dgm:spPr/>
      <dgm:t>
        <a:bodyPr/>
        <a:lstStyle/>
        <a:p>
          <a:pPr>
            <a:lnSpc>
              <a:spcPct val="100000"/>
            </a:lnSpc>
          </a:pPr>
          <a:r>
            <a:rPr lang="en-US" b="0" i="0">
              <a:latin typeface="Segoe UI Light" panose="020B0502040204020203" pitchFamily="34" charset="0"/>
            </a:rPr>
            <a:t>Add code if needed (for now, C# code is supported)</a:t>
          </a:r>
        </a:p>
      </dgm:t>
    </dgm:pt>
    <dgm:pt modelId="{F647AC8F-EB90-704A-946F-D78FF39D3EA2}" type="parTrans" cxnId="{208B595E-7C7D-5F46-B28A-9D74F9EAD971}">
      <dgm:prSet/>
      <dgm:spPr/>
      <dgm:t>
        <a:bodyPr/>
        <a:lstStyle/>
        <a:p>
          <a:endParaRPr lang="en-GB"/>
        </a:p>
      </dgm:t>
    </dgm:pt>
    <dgm:pt modelId="{8BC41209-98D1-3C4F-8983-A777A14D822E}" type="sibTrans" cxnId="{208B595E-7C7D-5F46-B28A-9D74F9EAD971}">
      <dgm:prSet/>
      <dgm:spPr/>
      <dgm:t>
        <a:bodyPr/>
        <a:lstStyle/>
        <a:p>
          <a:endParaRPr lang="en-GB"/>
        </a:p>
      </dgm:t>
    </dgm:pt>
    <dgm:pt modelId="{62B76224-1025-3D49-8B9A-CC6EB395A07F}">
      <dgm:prSet/>
      <dgm:spPr/>
      <dgm:t>
        <a:bodyPr/>
        <a:lstStyle/>
        <a:p>
          <a:pPr>
            <a:lnSpc>
              <a:spcPct val="100000"/>
            </a:lnSpc>
          </a:pPr>
          <a:r>
            <a:rPr lang="en-US" b="0" i="0">
              <a:latin typeface="Segoe UI Light" panose="020B0502040204020203" pitchFamily="34" charset="0"/>
            </a:rPr>
            <a:t>Save and test your connector</a:t>
          </a:r>
        </a:p>
      </dgm:t>
    </dgm:pt>
    <dgm:pt modelId="{FF94AACC-E2D4-7243-932A-27611F661904}" type="parTrans" cxnId="{605C8B7E-1DB7-EC40-AB98-9EC611CF016D}">
      <dgm:prSet/>
      <dgm:spPr/>
      <dgm:t>
        <a:bodyPr/>
        <a:lstStyle/>
        <a:p>
          <a:endParaRPr lang="en-GB"/>
        </a:p>
      </dgm:t>
    </dgm:pt>
    <dgm:pt modelId="{917A66DE-2F75-CE44-9250-E319B2E467E5}" type="sibTrans" cxnId="{605C8B7E-1DB7-EC40-AB98-9EC611CF016D}">
      <dgm:prSet/>
      <dgm:spPr/>
      <dgm:t>
        <a:bodyPr/>
        <a:lstStyle/>
        <a:p>
          <a:endParaRPr lang="en-GB"/>
        </a:p>
      </dgm:t>
    </dgm:pt>
    <dgm:pt modelId="{8893DF99-431C-4F42-B88C-FBDB9433E11B}" type="pres">
      <dgm:prSet presAssocID="{B6284740-5D9C-4CB9-A80E-2256237ED06D}" presName="root" presStyleCnt="0">
        <dgm:presLayoutVars>
          <dgm:dir/>
          <dgm:resizeHandles val="exact"/>
        </dgm:presLayoutVars>
      </dgm:prSet>
      <dgm:spPr/>
    </dgm:pt>
    <dgm:pt modelId="{97595F3B-CF39-40B6-9001-4E74048254AD}" type="pres">
      <dgm:prSet presAssocID="{28F87831-9F73-46E8-A899-A5D1E6C0F8FA}" presName="compNode" presStyleCnt="0"/>
      <dgm:spPr/>
    </dgm:pt>
    <dgm:pt modelId="{AB20D592-C47D-480E-9FCE-0B6AA553978A}" type="pres">
      <dgm:prSet presAssocID="{28F87831-9F73-46E8-A899-A5D1E6C0F8FA}" presName="bgRect" presStyleLbl="bgShp" presStyleIdx="0" presStyleCnt="6"/>
      <dgm:spPr>
        <a:solidFill>
          <a:schemeClr val="bg2"/>
        </a:solidFill>
      </dgm:spPr>
    </dgm:pt>
    <dgm:pt modelId="{0F544F2F-7B63-4213-B3D8-8A7273281936}" type="pres">
      <dgm:prSet presAssocID="{28F87831-9F73-46E8-A899-A5D1E6C0F8FA}" presName="iconRect" presStyleLbl="node1" presStyleIdx="0" presStyleCnt="6"/>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Closed book with solid fill"/>
        </a:ext>
      </dgm:extLst>
    </dgm:pt>
    <dgm:pt modelId="{B7868FB5-B477-43DE-AEEC-49C6AC93569A}" type="pres">
      <dgm:prSet presAssocID="{28F87831-9F73-46E8-A899-A5D1E6C0F8FA}" presName="spaceRect" presStyleCnt="0"/>
      <dgm:spPr/>
    </dgm:pt>
    <dgm:pt modelId="{B892899B-6826-4880-BD30-CE5A016393F8}" type="pres">
      <dgm:prSet presAssocID="{28F87831-9F73-46E8-A899-A5D1E6C0F8FA}" presName="parTx" presStyleLbl="revTx" presStyleIdx="0" presStyleCnt="6">
        <dgm:presLayoutVars>
          <dgm:chMax val="0"/>
          <dgm:chPref val="0"/>
        </dgm:presLayoutVars>
      </dgm:prSet>
      <dgm:spPr/>
    </dgm:pt>
    <dgm:pt modelId="{A61A350C-5552-0D4B-A010-BE5C01E1B483}" type="pres">
      <dgm:prSet presAssocID="{30D904F6-9EF5-441E-B6D8-BA6920103DF1}" presName="sibTrans" presStyleCnt="0"/>
      <dgm:spPr/>
    </dgm:pt>
    <dgm:pt modelId="{8713B450-C2A7-6A45-BEC3-0DB65ED59762}" type="pres">
      <dgm:prSet presAssocID="{F759548A-8F23-1148-AB3A-36BE65169F3A}" presName="compNode" presStyleCnt="0"/>
      <dgm:spPr/>
    </dgm:pt>
    <dgm:pt modelId="{4CDB3BC9-94A8-1942-A0D7-A6C018FBD8C0}" type="pres">
      <dgm:prSet presAssocID="{F759548A-8F23-1148-AB3A-36BE65169F3A}" presName="bgRect" presStyleLbl="bgShp" presStyleIdx="1" presStyleCnt="6"/>
      <dgm:spPr>
        <a:solidFill>
          <a:schemeClr val="bg2"/>
        </a:solidFill>
      </dgm:spPr>
    </dgm:pt>
    <dgm:pt modelId="{78F5EC67-82DB-3A47-BE47-F2ADC99F3A08}" type="pres">
      <dgm:prSet presAssocID="{F759548A-8F23-1148-AB3A-36BE65169F3A}" presName="iconRect" presStyleLbl="node1" presStyleIdx="1" presStyleCnt="6"/>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Rocket with solid fill"/>
        </a:ext>
      </dgm:extLst>
    </dgm:pt>
    <dgm:pt modelId="{ACD68306-3564-7F41-81F8-9F5A1B51C1C5}" type="pres">
      <dgm:prSet presAssocID="{F759548A-8F23-1148-AB3A-36BE65169F3A}" presName="spaceRect" presStyleCnt="0"/>
      <dgm:spPr/>
    </dgm:pt>
    <dgm:pt modelId="{79082CCF-919A-1445-A443-34F82F2607F2}" type="pres">
      <dgm:prSet presAssocID="{F759548A-8F23-1148-AB3A-36BE65169F3A}" presName="parTx" presStyleLbl="revTx" presStyleIdx="1" presStyleCnt="6">
        <dgm:presLayoutVars>
          <dgm:chMax val="0"/>
          <dgm:chPref val="0"/>
        </dgm:presLayoutVars>
      </dgm:prSet>
      <dgm:spPr/>
    </dgm:pt>
    <dgm:pt modelId="{744771DB-2C81-0545-BEFB-6DB44248FD2A}" type="pres">
      <dgm:prSet presAssocID="{D5DCEAAD-B9B1-624E-8FD1-4E3FB2A553F9}" presName="sibTrans" presStyleCnt="0"/>
      <dgm:spPr/>
    </dgm:pt>
    <dgm:pt modelId="{DBCFCFB7-CF67-1B44-ADA5-DA4864527DFE}" type="pres">
      <dgm:prSet presAssocID="{395476C8-058D-B342-AE8B-C26B3411C43E}" presName="compNode" presStyleCnt="0"/>
      <dgm:spPr/>
    </dgm:pt>
    <dgm:pt modelId="{B4969633-86E4-AB41-BEEF-CAF2378C4FFC}" type="pres">
      <dgm:prSet presAssocID="{395476C8-058D-B342-AE8B-C26B3411C43E}" presName="bgRect" presStyleLbl="bgShp" presStyleIdx="2" presStyleCnt="6"/>
      <dgm:spPr>
        <a:solidFill>
          <a:schemeClr val="bg2"/>
        </a:solidFill>
      </dgm:spPr>
    </dgm:pt>
    <dgm:pt modelId="{BAA21375-639A-3F41-8793-387ACBF9EA6B}" type="pres">
      <dgm:prSet presAssocID="{395476C8-058D-B342-AE8B-C26B3411C43E}" presName="iconRect" presStyleLbl="node1" presStyleIdx="2" presStyleCnt="6"/>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Lock with solid fill"/>
        </a:ext>
      </dgm:extLst>
    </dgm:pt>
    <dgm:pt modelId="{BB9D1799-7EFD-844C-8F8B-B1965F798118}" type="pres">
      <dgm:prSet presAssocID="{395476C8-058D-B342-AE8B-C26B3411C43E}" presName="spaceRect" presStyleCnt="0"/>
      <dgm:spPr/>
    </dgm:pt>
    <dgm:pt modelId="{1464BE0B-40F6-8D46-B696-2F043B63C4F9}" type="pres">
      <dgm:prSet presAssocID="{395476C8-058D-B342-AE8B-C26B3411C43E}" presName="parTx" presStyleLbl="revTx" presStyleIdx="2" presStyleCnt="6">
        <dgm:presLayoutVars>
          <dgm:chMax val="0"/>
          <dgm:chPref val="0"/>
        </dgm:presLayoutVars>
      </dgm:prSet>
      <dgm:spPr/>
    </dgm:pt>
    <dgm:pt modelId="{A2FB444D-6529-1C4C-B773-4BCC87E0C34A}" type="pres">
      <dgm:prSet presAssocID="{07FF3CD5-B519-FC42-B8B2-7373C1F695C7}" presName="sibTrans" presStyleCnt="0"/>
      <dgm:spPr/>
    </dgm:pt>
    <dgm:pt modelId="{00D43745-CFFC-E741-8809-AAAC66A54311}" type="pres">
      <dgm:prSet presAssocID="{CA6C56D4-40A3-0C4B-A36E-9453E3092583}" presName="compNode" presStyleCnt="0"/>
      <dgm:spPr/>
    </dgm:pt>
    <dgm:pt modelId="{9BEC0F33-85C8-F249-8219-2A26EF3935D7}" type="pres">
      <dgm:prSet presAssocID="{CA6C56D4-40A3-0C4B-A36E-9453E3092583}" presName="bgRect" presStyleLbl="bgShp" presStyleIdx="3" presStyleCnt="6"/>
      <dgm:spPr>
        <a:solidFill>
          <a:schemeClr val="bg2"/>
        </a:solidFill>
      </dgm:spPr>
    </dgm:pt>
    <dgm:pt modelId="{66DDA7D1-85F3-464F-A13A-715D7A05735B}" type="pres">
      <dgm:prSet presAssocID="{CA6C56D4-40A3-0C4B-A36E-9453E3092583}" presName="iconRect" presStyleLbl="node1" presStyleIdx="3" presStyleCnt="6"/>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Play with solid fill"/>
        </a:ext>
      </dgm:extLst>
    </dgm:pt>
    <dgm:pt modelId="{38E8B4E4-9D44-D240-B3DA-EF2CBFF967F2}" type="pres">
      <dgm:prSet presAssocID="{CA6C56D4-40A3-0C4B-A36E-9453E3092583}" presName="spaceRect" presStyleCnt="0"/>
      <dgm:spPr/>
    </dgm:pt>
    <dgm:pt modelId="{E439FD84-2DF6-2B48-9EC9-760552FA8F7A}" type="pres">
      <dgm:prSet presAssocID="{CA6C56D4-40A3-0C4B-A36E-9453E3092583}" presName="parTx" presStyleLbl="revTx" presStyleIdx="3" presStyleCnt="6">
        <dgm:presLayoutVars>
          <dgm:chMax val="0"/>
          <dgm:chPref val="0"/>
        </dgm:presLayoutVars>
      </dgm:prSet>
      <dgm:spPr/>
    </dgm:pt>
    <dgm:pt modelId="{16BB8B05-5407-8F42-B70B-627579B87B0A}" type="pres">
      <dgm:prSet presAssocID="{6F72DD59-9D86-E548-B25B-C25931B212B2}" presName="sibTrans" presStyleCnt="0"/>
      <dgm:spPr/>
    </dgm:pt>
    <dgm:pt modelId="{499F2DEE-5224-F448-A613-2D1C4254C074}" type="pres">
      <dgm:prSet presAssocID="{A4FC7F5C-CD47-584E-913A-DEA7812FCF8C}" presName="compNode" presStyleCnt="0"/>
      <dgm:spPr/>
    </dgm:pt>
    <dgm:pt modelId="{DEBA26BF-3BEB-0B4C-9FF0-E194176C0F71}" type="pres">
      <dgm:prSet presAssocID="{A4FC7F5C-CD47-584E-913A-DEA7812FCF8C}" presName="bgRect" presStyleLbl="bgShp" presStyleIdx="4" presStyleCnt="6"/>
      <dgm:spPr>
        <a:solidFill>
          <a:schemeClr val="bg2"/>
        </a:solidFill>
      </dgm:spPr>
    </dgm:pt>
    <dgm:pt modelId="{A7BA3752-C53F-CC4D-9971-45D05F271C60}" type="pres">
      <dgm:prSet presAssocID="{A4FC7F5C-CD47-584E-913A-DEA7812FCF8C}" presName="iconRect" presStyleLbl="node1" presStyleIdx="4" presStyleCnt="6"/>
      <dgm:spPr>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Programmer male with solid fill"/>
        </a:ext>
      </dgm:extLst>
    </dgm:pt>
    <dgm:pt modelId="{9EC82767-128E-244F-973F-7FEC0A67F6CE}" type="pres">
      <dgm:prSet presAssocID="{A4FC7F5C-CD47-584E-913A-DEA7812FCF8C}" presName="spaceRect" presStyleCnt="0"/>
      <dgm:spPr/>
    </dgm:pt>
    <dgm:pt modelId="{D3EE60BA-FF61-404F-A1E3-0F4CED78D285}" type="pres">
      <dgm:prSet presAssocID="{A4FC7F5C-CD47-584E-913A-DEA7812FCF8C}" presName="parTx" presStyleLbl="revTx" presStyleIdx="4" presStyleCnt="6">
        <dgm:presLayoutVars>
          <dgm:chMax val="0"/>
          <dgm:chPref val="0"/>
        </dgm:presLayoutVars>
      </dgm:prSet>
      <dgm:spPr/>
    </dgm:pt>
    <dgm:pt modelId="{57DD7F64-F539-EC4A-97C3-263E4B45C64A}" type="pres">
      <dgm:prSet presAssocID="{8BC41209-98D1-3C4F-8983-A777A14D822E}" presName="sibTrans" presStyleCnt="0"/>
      <dgm:spPr/>
    </dgm:pt>
    <dgm:pt modelId="{2EB44B44-F736-014E-B8FB-A7299B6A236E}" type="pres">
      <dgm:prSet presAssocID="{62B76224-1025-3D49-8B9A-CC6EB395A07F}" presName="compNode" presStyleCnt="0"/>
      <dgm:spPr/>
    </dgm:pt>
    <dgm:pt modelId="{A4D0A183-46B9-9346-94F0-9738B4929113}" type="pres">
      <dgm:prSet presAssocID="{62B76224-1025-3D49-8B9A-CC6EB395A07F}" presName="bgRect" presStyleLbl="bgShp" presStyleIdx="5" presStyleCnt="6"/>
      <dgm:spPr>
        <a:solidFill>
          <a:schemeClr val="bg2"/>
        </a:solidFill>
      </dgm:spPr>
    </dgm:pt>
    <dgm:pt modelId="{88313EBB-02AE-F348-BDDE-07C72027FDDA}" type="pres">
      <dgm:prSet presAssocID="{62B76224-1025-3D49-8B9A-CC6EB395A07F}" presName="iconRect" presStyleLbl="node1" presStyleIdx="5" presStyleCnt="6"/>
      <dgm:spPr>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dgm:spPr>
      <dgm:extLst>
        <a:ext uri="{E40237B7-FDA0-4F09-8148-C483321AD2D9}">
          <dgm14:cNvPr xmlns:dgm14="http://schemas.microsoft.com/office/drawing/2010/diagram" id="0" name="" descr="Test tubes with solid fill"/>
        </a:ext>
      </dgm:extLst>
    </dgm:pt>
    <dgm:pt modelId="{D1FA8FDC-5A7D-5F48-99E9-2953E5062844}" type="pres">
      <dgm:prSet presAssocID="{62B76224-1025-3D49-8B9A-CC6EB395A07F}" presName="spaceRect" presStyleCnt="0"/>
      <dgm:spPr/>
    </dgm:pt>
    <dgm:pt modelId="{7878AE0B-B1AD-ED4F-84ED-6CA895FE53E6}" type="pres">
      <dgm:prSet presAssocID="{62B76224-1025-3D49-8B9A-CC6EB395A07F}" presName="parTx" presStyleLbl="revTx" presStyleIdx="5" presStyleCnt="6">
        <dgm:presLayoutVars>
          <dgm:chMax val="0"/>
          <dgm:chPref val="0"/>
        </dgm:presLayoutVars>
      </dgm:prSet>
      <dgm:spPr/>
    </dgm:pt>
  </dgm:ptLst>
  <dgm:cxnLst>
    <dgm:cxn modelId="{E855C301-9E0B-4BC9-81B5-819CDB5CE8A9}" type="presOf" srcId="{28F87831-9F73-46E8-A899-A5D1E6C0F8FA}" destId="{B892899B-6826-4880-BD30-CE5A016393F8}" srcOrd="0" destOrd="0" presId="urn:microsoft.com/office/officeart/2018/2/layout/IconVerticalSolidList"/>
    <dgm:cxn modelId="{7C12BF11-A3CF-A846-B6FC-C3DEFBD88FF3}" srcId="{B6284740-5D9C-4CB9-A80E-2256237ED06D}" destId="{395476C8-058D-B342-AE8B-C26B3411C43E}" srcOrd="2" destOrd="0" parTransId="{D714D613-3B03-C342-AB9E-D656FA43594A}" sibTransId="{07FF3CD5-B519-FC42-B8B2-7373C1F695C7}"/>
    <dgm:cxn modelId="{262DDE11-63E7-5541-B089-8C15F58EAD4B}" type="presOf" srcId="{395476C8-058D-B342-AE8B-C26B3411C43E}" destId="{1464BE0B-40F6-8D46-B696-2F043B63C4F9}" srcOrd="0" destOrd="0" presId="urn:microsoft.com/office/officeart/2018/2/layout/IconVerticalSolidList"/>
    <dgm:cxn modelId="{BEC13916-4482-4AEB-A068-B3F2F650AD53}" type="presOf" srcId="{B6284740-5D9C-4CB9-A80E-2256237ED06D}" destId="{8893DF99-431C-4F42-B88C-FBDB9433E11B}" srcOrd="0" destOrd="0" presId="urn:microsoft.com/office/officeart/2018/2/layout/IconVerticalSolidList"/>
    <dgm:cxn modelId="{208B595E-7C7D-5F46-B28A-9D74F9EAD971}" srcId="{B6284740-5D9C-4CB9-A80E-2256237ED06D}" destId="{A4FC7F5C-CD47-584E-913A-DEA7812FCF8C}" srcOrd="4" destOrd="0" parTransId="{F647AC8F-EB90-704A-946F-D78FF39D3EA2}" sibTransId="{8BC41209-98D1-3C4F-8983-A777A14D822E}"/>
    <dgm:cxn modelId="{557EA95E-A05C-7A4E-ABF6-A7B15CE98D49}" srcId="{B6284740-5D9C-4CB9-A80E-2256237ED06D}" destId="{CA6C56D4-40A3-0C4B-A36E-9453E3092583}" srcOrd="3" destOrd="0" parTransId="{9E533490-09B5-2C45-A8D8-8A74DADBDBDD}" sibTransId="{6F72DD59-9D86-E548-B25B-C25931B212B2}"/>
    <dgm:cxn modelId="{28884460-5282-9A49-A89D-60E656EEA658}" type="presOf" srcId="{CA6C56D4-40A3-0C4B-A36E-9453E3092583}" destId="{E439FD84-2DF6-2B48-9EC9-760552FA8F7A}" srcOrd="0" destOrd="0" presId="urn:microsoft.com/office/officeart/2018/2/layout/IconVerticalSolidList"/>
    <dgm:cxn modelId="{86B4484C-0AA8-4716-A92A-F7150B65D707}" srcId="{B6284740-5D9C-4CB9-A80E-2256237ED06D}" destId="{28F87831-9F73-46E8-A899-A5D1E6C0F8FA}" srcOrd="0" destOrd="0" parTransId="{F43C922A-9C74-4D84-A092-25CEACF6A797}" sibTransId="{30D904F6-9EF5-441E-B6D8-BA6920103DF1}"/>
    <dgm:cxn modelId="{6463544D-DC7D-5546-B025-4C0312076A1D}" srcId="{B6284740-5D9C-4CB9-A80E-2256237ED06D}" destId="{F759548A-8F23-1148-AB3A-36BE65169F3A}" srcOrd="1" destOrd="0" parTransId="{6058C71F-83E7-9746-ABA1-A5F97FC10CD0}" sibTransId="{D5DCEAAD-B9B1-624E-8FD1-4E3FB2A553F9}"/>
    <dgm:cxn modelId="{605C8B7E-1DB7-EC40-AB98-9EC611CF016D}" srcId="{B6284740-5D9C-4CB9-A80E-2256237ED06D}" destId="{62B76224-1025-3D49-8B9A-CC6EB395A07F}" srcOrd="5" destOrd="0" parTransId="{FF94AACC-E2D4-7243-932A-27611F661904}" sibTransId="{917A66DE-2F75-CE44-9250-E319B2E467E5}"/>
    <dgm:cxn modelId="{533A1E89-FA43-DB47-BB8A-E902CA49EDC2}" type="presOf" srcId="{A4FC7F5C-CD47-584E-913A-DEA7812FCF8C}" destId="{D3EE60BA-FF61-404F-A1E3-0F4CED78D285}" srcOrd="0" destOrd="0" presId="urn:microsoft.com/office/officeart/2018/2/layout/IconVerticalSolidList"/>
    <dgm:cxn modelId="{E71E7498-EA44-0647-BF4F-2885F8B69787}" type="presOf" srcId="{62B76224-1025-3D49-8B9A-CC6EB395A07F}" destId="{7878AE0B-B1AD-ED4F-84ED-6CA895FE53E6}" srcOrd="0" destOrd="0" presId="urn:microsoft.com/office/officeart/2018/2/layout/IconVerticalSolidList"/>
    <dgm:cxn modelId="{66B313E5-1E14-7748-B23A-DF17363DC6E8}" type="presOf" srcId="{F759548A-8F23-1148-AB3A-36BE65169F3A}" destId="{79082CCF-919A-1445-A443-34F82F2607F2}" srcOrd="0" destOrd="0" presId="urn:microsoft.com/office/officeart/2018/2/layout/IconVerticalSolidList"/>
    <dgm:cxn modelId="{CA71A53F-0927-4917-877E-5186ED4F5047}" type="presParOf" srcId="{8893DF99-431C-4F42-B88C-FBDB9433E11B}" destId="{97595F3B-CF39-40B6-9001-4E74048254AD}" srcOrd="0" destOrd="0" presId="urn:microsoft.com/office/officeart/2018/2/layout/IconVerticalSolidList"/>
    <dgm:cxn modelId="{713EFADD-C635-4B74-92FC-6000B94AC2B5}" type="presParOf" srcId="{97595F3B-CF39-40B6-9001-4E74048254AD}" destId="{AB20D592-C47D-480E-9FCE-0B6AA553978A}" srcOrd="0" destOrd="0" presId="urn:microsoft.com/office/officeart/2018/2/layout/IconVerticalSolidList"/>
    <dgm:cxn modelId="{3A31F705-91E3-4791-8181-FA0F4D4B3DC9}" type="presParOf" srcId="{97595F3B-CF39-40B6-9001-4E74048254AD}" destId="{0F544F2F-7B63-4213-B3D8-8A7273281936}" srcOrd="1" destOrd="0" presId="urn:microsoft.com/office/officeart/2018/2/layout/IconVerticalSolidList"/>
    <dgm:cxn modelId="{66574733-CF17-41E3-863C-6136ACA76BFE}" type="presParOf" srcId="{97595F3B-CF39-40B6-9001-4E74048254AD}" destId="{B7868FB5-B477-43DE-AEEC-49C6AC93569A}" srcOrd="2" destOrd="0" presId="urn:microsoft.com/office/officeart/2018/2/layout/IconVerticalSolidList"/>
    <dgm:cxn modelId="{4CC15D3B-8368-4174-A33B-C215C5B57C45}" type="presParOf" srcId="{97595F3B-CF39-40B6-9001-4E74048254AD}" destId="{B892899B-6826-4880-BD30-CE5A016393F8}" srcOrd="3" destOrd="0" presId="urn:microsoft.com/office/officeart/2018/2/layout/IconVerticalSolidList"/>
    <dgm:cxn modelId="{0889860B-24A7-E04B-9D94-720319C058F5}" type="presParOf" srcId="{8893DF99-431C-4F42-B88C-FBDB9433E11B}" destId="{A61A350C-5552-0D4B-A010-BE5C01E1B483}" srcOrd="1" destOrd="0" presId="urn:microsoft.com/office/officeart/2018/2/layout/IconVerticalSolidList"/>
    <dgm:cxn modelId="{D81D7851-D9E4-584D-9AFD-C1C3C008353E}" type="presParOf" srcId="{8893DF99-431C-4F42-B88C-FBDB9433E11B}" destId="{8713B450-C2A7-6A45-BEC3-0DB65ED59762}" srcOrd="2" destOrd="0" presId="urn:microsoft.com/office/officeart/2018/2/layout/IconVerticalSolidList"/>
    <dgm:cxn modelId="{3B4BC3EA-F49C-A24A-9672-D06C39789F6B}" type="presParOf" srcId="{8713B450-C2A7-6A45-BEC3-0DB65ED59762}" destId="{4CDB3BC9-94A8-1942-A0D7-A6C018FBD8C0}" srcOrd="0" destOrd="0" presId="urn:microsoft.com/office/officeart/2018/2/layout/IconVerticalSolidList"/>
    <dgm:cxn modelId="{A0FC783B-02B5-CD40-92EA-A8E437E6D478}" type="presParOf" srcId="{8713B450-C2A7-6A45-BEC3-0DB65ED59762}" destId="{78F5EC67-82DB-3A47-BE47-F2ADC99F3A08}" srcOrd="1" destOrd="0" presId="urn:microsoft.com/office/officeart/2018/2/layout/IconVerticalSolidList"/>
    <dgm:cxn modelId="{346D7E78-BD4C-CB44-9BCE-603D83E44D20}" type="presParOf" srcId="{8713B450-C2A7-6A45-BEC3-0DB65ED59762}" destId="{ACD68306-3564-7F41-81F8-9F5A1B51C1C5}" srcOrd="2" destOrd="0" presId="urn:microsoft.com/office/officeart/2018/2/layout/IconVerticalSolidList"/>
    <dgm:cxn modelId="{8C3106E3-645A-7446-B842-4CA99BFB9C06}" type="presParOf" srcId="{8713B450-C2A7-6A45-BEC3-0DB65ED59762}" destId="{79082CCF-919A-1445-A443-34F82F2607F2}" srcOrd="3" destOrd="0" presId="urn:microsoft.com/office/officeart/2018/2/layout/IconVerticalSolidList"/>
    <dgm:cxn modelId="{D3015065-0F24-0349-9B89-B2DE919390F9}" type="presParOf" srcId="{8893DF99-431C-4F42-B88C-FBDB9433E11B}" destId="{744771DB-2C81-0545-BEFB-6DB44248FD2A}" srcOrd="3" destOrd="0" presId="urn:microsoft.com/office/officeart/2018/2/layout/IconVerticalSolidList"/>
    <dgm:cxn modelId="{A54E426C-28D0-1848-8094-4245A5EF5E2C}" type="presParOf" srcId="{8893DF99-431C-4F42-B88C-FBDB9433E11B}" destId="{DBCFCFB7-CF67-1B44-ADA5-DA4864527DFE}" srcOrd="4" destOrd="0" presId="urn:microsoft.com/office/officeart/2018/2/layout/IconVerticalSolidList"/>
    <dgm:cxn modelId="{652E5EEF-C13C-3145-AA2F-9B883F73A899}" type="presParOf" srcId="{DBCFCFB7-CF67-1B44-ADA5-DA4864527DFE}" destId="{B4969633-86E4-AB41-BEEF-CAF2378C4FFC}" srcOrd="0" destOrd="0" presId="urn:microsoft.com/office/officeart/2018/2/layout/IconVerticalSolidList"/>
    <dgm:cxn modelId="{592E3963-8BEC-8745-A587-F231F516EF5F}" type="presParOf" srcId="{DBCFCFB7-CF67-1B44-ADA5-DA4864527DFE}" destId="{BAA21375-639A-3F41-8793-387ACBF9EA6B}" srcOrd="1" destOrd="0" presId="urn:microsoft.com/office/officeart/2018/2/layout/IconVerticalSolidList"/>
    <dgm:cxn modelId="{87E90766-97C5-AA43-897B-0A8921A65315}" type="presParOf" srcId="{DBCFCFB7-CF67-1B44-ADA5-DA4864527DFE}" destId="{BB9D1799-7EFD-844C-8F8B-B1965F798118}" srcOrd="2" destOrd="0" presId="urn:microsoft.com/office/officeart/2018/2/layout/IconVerticalSolidList"/>
    <dgm:cxn modelId="{515EA71F-9738-4147-A166-1B62D830CA1E}" type="presParOf" srcId="{DBCFCFB7-CF67-1B44-ADA5-DA4864527DFE}" destId="{1464BE0B-40F6-8D46-B696-2F043B63C4F9}" srcOrd="3" destOrd="0" presId="urn:microsoft.com/office/officeart/2018/2/layout/IconVerticalSolidList"/>
    <dgm:cxn modelId="{AEDFB38D-6260-2D4D-8834-D8A4AC31CBB6}" type="presParOf" srcId="{8893DF99-431C-4F42-B88C-FBDB9433E11B}" destId="{A2FB444D-6529-1C4C-B773-4BCC87E0C34A}" srcOrd="5" destOrd="0" presId="urn:microsoft.com/office/officeart/2018/2/layout/IconVerticalSolidList"/>
    <dgm:cxn modelId="{FC1834C0-AC65-C448-973D-FB8327039C97}" type="presParOf" srcId="{8893DF99-431C-4F42-B88C-FBDB9433E11B}" destId="{00D43745-CFFC-E741-8809-AAAC66A54311}" srcOrd="6" destOrd="0" presId="urn:microsoft.com/office/officeart/2018/2/layout/IconVerticalSolidList"/>
    <dgm:cxn modelId="{DA2100CB-ADE2-024C-AAC2-A04548D8B616}" type="presParOf" srcId="{00D43745-CFFC-E741-8809-AAAC66A54311}" destId="{9BEC0F33-85C8-F249-8219-2A26EF3935D7}" srcOrd="0" destOrd="0" presId="urn:microsoft.com/office/officeart/2018/2/layout/IconVerticalSolidList"/>
    <dgm:cxn modelId="{1540D07D-37DD-AF4B-8E73-21D0B6B27ED1}" type="presParOf" srcId="{00D43745-CFFC-E741-8809-AAAC66A54311}" destId="{66DDA7D1-85F3-464F-A13A-715D7A05735B}" srcOrd="1" destOrd="0" presId="urn:microsoft.com/office/officeart/2018/2/layout/IconVerticalSolidList"/>
    <dgm:cxn modelId="{5547BA3F-25F9-9E46-BEC4-8F2272299915}" type="presParOf" srcId="{00D43745-CFFC-E741-8809-AAAC66A54311}" destId="{38E8B4E4-9D44-D240-B3DA-EF2CBFF967F2}" srcOrd="2" destOrd="0" presId="urn:microsoft.com/office/officeart/2018/2/layout/IconVerticalSolidList"/>
    <dgm:cxn modelId="{2226CD36-BE27-DD43-8E1F-BC466698FD97}" type="presParOf" srcId="{00D43745-CFFC-E741-8809-AAAC66A54311}" destId="{E439FD84-2DF6-2B48-9EC9-760552FA8F7A}" srcOrd="3" destOrd="0" presId="urn:microsoft.com/office/officeart/2018/2/layout/IconVerticalSolidList"/>
    <dgm:cxn modelId="{BCCD91D9-3CE6-5A46-8822-4C13F8D516C8}" type="presParOf" srcId="{8893DF99-431C-4F42-B88C-FBDB9433E11B}" destId="{16BB8B05-5407-8F42-B70B-627579B87B0A}" srcOrd="7" destOrd="0" presId="urn:microsoft.com/office/officeart/2018/2/layout/IconVerticalSolidList"/>
    <dgm:cxn modelId="{AA2330F6-E73A-C444-92A0-D87E607F404B}" type="presParOf" srcId="{8893DF99-431C-4F42-B88C-FBDB9433E11B}" destId="{499F2DEE-5224-F448-A613-2D1C4254C074}" srcOrd="8" destOrd="0" presId="urn:microsoft.com/office/officeart/2018/2/layout/IconVerticalSolidList"/>
    <dgm:cxn modelId="{3B4F49B0-B20D-0449-967C-DFBAA296ABD8}" type="presParOf" srcId="{499F2DEE-5224-F448-A613-2D1C4254C074}" destId="{DEBA26BF-3BEB-0B4C-9FF0-E194176C0F71}" srcOrd="0" destOrd="0" presId="urn:microsoft.com/office/officeart/2018/2/layout/IconVerticalSolidList"/>
    <dgm:cxn modelId="{846FE7C0-A3BC-4041-8A90-A38D76D57EB1}" type="presParOf" srcId="{499F2DEE-5224-F448-A613-2D1C4254C074}" destId="{A7BA3752-C53F-CC4D-9971-45D05F271C60}" srcOrd="1" destOrd="0" presId="urn:microsoft.com/office/officeart/2018/2/layout/IconVerticalSolidList"/>
    <dgm:cxn modelId="{BC91E1C7-47AC-824C-8A7B-91656B5AB677}" type="presParOf" srcId="{499F2DEE-5224-F448-A613-2D1C4254C074}" destId="{9EC82767-128E-244F-973F-7FEC0A67F6CE}" srcOrd="2" destOrd="0" presId="urn:microsoft.com/office/officeart/2018/2/layout/IconVerticalSolidList"/>
    <dgm:cxn modelId="{48E6D71D-112A-0045-BCA3-34AAB58C98C2}" type="presParOf" srcId="{499F2DEE-5224-F448-A613-2D1C4254C074}" destId="{D3EE60BA-FF61-404F-A1E3-0F4CED78D285}" srcOrd="3" destOrd="0" presId="urn:microsoft.com/office/officeart/2018/2/layout/IconVerticalSolidList"/>
    <dgm:cxn modelId="{62162735-2A82-014F-B18B-72A7ED8784F5}" type="presParOf" srcId="{8893DF99-431C-4F42-B88C-FBDB9433E11B}" destId="{57DD7F64-F539-EC4A-97C3-263E4B45C64A}" srcOrd="9" destOrd="0" presId="urn:microsoft.com/office/officeart/2018/2/layout/IconVerticalSolidList"/>
    <dgm:cxn modelId="{396B7C12-5F08-FB40-8202-46C8EC687236}" type="presParOf" srcId="{8893DF99-431C-4F42-B88C-FBDB9433E11B}" destId="{2EB44B44-F736-014E-B8FB-A7299B6A236E}" srcOrd="10" destOrd="0" presId="urn:microsoft.com/office/officeart/2018/2/layout/IconVerticalSolidList"/>
    <dgm:cxn modelId="{CA98D955-3CC9-C245-81E1-5423CC3851DB}" type="presParOf" srcId="{2EB44B44-F736-014E-B8FB-A7299B6A236E}" destId="{A4D0A183-46B9-9346-94F0-9738B4929113}" srcOrd="0" destOrd="0" presId="urn:microsoft.com/office/officeart/2018/2/layout/IconVerticalSolidList"/>
    <dgm:cxn modelId="{522E35B8-5B50-A946-8CB9-8E00A63261D0}" type="presParOf" srcId="{2EB44B44-F736-014E-B8FB-A7299B6A236E}" destId="{88313EBB-02AE-F348-BDDE-07C72027FDDA}" srcOrd="1" destOrd="0" presId="urn:microsoft.com/office/officeart/2018/2/layout/IconVerticalSolidList"/>
    <dgm:cxn modelId="{37B490A7-5714-D343-B71E-A2B7AC00F99D}" type="presParOf" srcId="{2EB44B44-F736-014E-B8FB-A7299B6A236E}" destId="{D1FA8FDC-5A7D-5F48-99E9-2953E5062844}" srcOrd="2" destOrd="0" presId="urn:microsoft.com/office/officeart/2018/2/layout/IconVerticalSolidList"/>
    <dgm:cxn modelId="{9A860CF1-FD77-3E4D-8919-714008E4CEBD}" type="presParOf" srcId="{2EB44B44-F736-014E-B8FB-A7299B6A236E}" destId="{7878AE0B-B1AD-ED4F-84ED-6CA895FE53E6}"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0D592-C47D-480E-9FCE-0B6AA553978A}">
      <dsp:nvSpPr>
        <dsp:cNvPr id="0" name=""/>
        <dsp:cNvSpPr/>
      </dsp:nvSpPr>
      <dsp:spPr>
        <a:xfrm>
          <a:off x="0" y="1559"/>
          <a:ext cx="10880725" cy="664349"/>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0F544F2F-7B63-4213-B3D8-8A7273281936}">
      <dsp:nvSpPr>
        <dsp:cNvPr id="0" name=""/>
        <dsp:cNvSpPr/>
      </dsp:nvSpPr>
      <dsp:spPr>
        <a:xfrm>
          <a:off x="200965" y="151037"/>
          <a:ext cx="365392" cy="36539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892899B-6826-4880-BD30-CE5A016393F8}">
      <dsp:nvSpPr>
        <dsp:cNvPr id="0" name=""/>
        <dsp:cNvSpPr/>
      </dsp:nvSpPr>
      <dsp:spPr>
        <a:xfrm>
          <a:off x="767323" y="1559"/>
          <a:ext cx="10113401"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b="0" i="0" kern="1200" baseline="0">
              <a:latin typeface="Segoe UI Light" panose="020B0502040204020203" pitchFamily="34" charset="0"/>
            </a:rPr>
            <a:t>Create from blank</a:t>
          </a:r>
          <a:endParaRPr lang="en-US" sz="1900" b="0" i="0" kern="1200">
            <a:latin typeface="Segoe UI Light" panose="020B0502040204020203" pitchFamily="34" charset="0"/>
          </a:endParaRPr>
        </a:p>
      </dsp:txBody>
      <dsp:txXfrm>
        <a:off x="767323" y="1559"/>
        <a:ext cx="10113401" cy="664349"/>
      </dsp:txXfrm>
    </dsp:sp>
    <dsp:sp modelId="{4CDB3BC9-94A8-1942-A0D7-A6C018FBD8C0}">
      <dsp:nvSpPr>
        <dsp:cNvPr id="0" name=""/>
        <dsp:cNvSpPr/>
      </dsp:nvSpPr>
      <dsp:spPr>
        <a:xfrm>
          <a:off x="0" y="831995"/>
          <a:ext cx="10880725" cy="664349"/>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78F5EC67-82DB-3A47-BE47-F2ADC99F3A08}">
      <dsp:nvSpPr>
        <dsp:cNvPr id="0" name=""/>
        <dsp:cNvSpPr/>
      </dsp:nvSpPr>
      <dsp:spPr>
        <a:xfrm>
          <a:off x="200965" y="981474"/>
          <a:ext cx="365392" cy="365392"/>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9082CCF-919A-1445-A443-34F82F2607F2}">
      <dsp:nvSpPr>
        <dsp:cNvPr id="0" name=""/>
        <dsp:cNvSpPr/>
      </dsp:nvSpPr>
      <dsp:spPr>
        <a:xfrm>
          <a:off x="767323" y="831995"/>
          <a:ext cx="10113401"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b="0" i="0" kern="1200">
              <a:latin typeface="Segoe UI Light" panose="020B0502040204020203" pitchFamily="34" charset="0"/>
            </a:rPr>
            <a:t>Create from Azure Service (Preview)</a:t>
          </a:r>
        </a:p>
      </dsp:txBody>
      <dsp:txXfrm>
        <a:off x="767323" y="831995"/>
        <a:ext cx="10113401" cy="664349"/>
      </dsp:txXfrm>
    </dsp:sp>
    <dsp:sp modelId="{B4969633-86E4-AB41-BEEF-CAF2378C4FFC}">
      <dsp:nvSpPr>
        <dsp:cNvPr id="0" name=""/>
        <dsp:cNvSpPr/>
      </dsp:nvSpPr>
      <dsp:spPr>
        <a:xfrm>
          <a:off x="0" y="1662432"/>
          <a:ext cx="10880725" cy="664349"/>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BAA21375-639A-3F41-8793-387ACBF9EA6B}">
      <dsp:nvSpPr>
        <dsp:cNvPr id="0" name=""/>
        <dsp:cNvSpPr/>
      </dsp:nvSpPr>
      <dsp:spPr>
        <a:xfrm>
          <a:off x="200965" y="1811910"/>
          <a:ext cx="365392" cy="36539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64BE0B-40F6-8D46-B696-2F043B63C4F9}">
      <dsp:nvSpPr>
        <dsp:cNvPr id="0" name=""/>
        <dsp:cNvSpPr/>
      </dsp:nvSpPr>
      <dsp:spPr>
        <a:xfrm>
          <a:off x="767323" y="1662432"/>
          <a:ext cx="10113401"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b="0" i="0" kern="1200">
              <a:latin typeface="Segoe UI Light" panose="020B0502040204020203" pitchFamily="34" charset="0"/>
            </a:rPr>
            <a:t>Import an </a:t>
          </a:r>
          <a:r>
            <a:rPr lang="en-US" sz="1900" b="0" i="0" kern="1200" err="1">
              <a:latin typeface="Segoe UI Light" panose="020B0502040204020203" pitchFamily="34" charset="0"/>
            </a:rPr>
            <a:t>OpenAPI</a:t>
          </a:r>
          <a:r>
            <a:rPr lang="en-US" sz="1900" b="0" i="0" kern="1200">
              <a:latin typeface="Segoe UI Light" panose="020B0502040204020203" pitchFamily="34" charset="0"/>
            </a:rPr>
            <a:t> file</a:t>
          </a:r>
        </a:p>
      </dsp:txBody>
      <dsp:txXfrm>
        <a:off x="767323" y="1662432"/>
        <a:ext cx="10113401" cy="664349"/>
      </dsp:txXfrm>
    </dsp:sp>
    <dsp:sp modelId="{9BEC0F33-85C8-F249-8219-2A26EF3935D7}">
      <dsp:nvSpPr>
        <dsp:cNvPr id="0" name=""/>
        <dsp:cNvSpPr/>
      </dsp:nvSpPr>
      <dsp:spPr>
        <a:xfrm>
          <a:off x="0" y="2492868"/>
          <a:ext cx="10880725" cy="664349"/>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66DDA7D1-85F3-464F-A13A-715D7A05735B}">
      <dsp:nvSpPr>
        <dsp:cNvPr id="0" name=""/>
        <dsp:cNvSpPr/>
      </dsp:nvSpPr>
      <dsp:spPr>
        <a:xfrm>
          <a:off x="200965" y="2642347"/>
          <a:ext cx="365392" cy="365392"/>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439FD84-2DF6-2B48-9EC9-760552FA8F7A}">
      <dsp:nvSpPr>
        <dsp:cNvPr id="0" name=""/>
        <dsp:cNvSpPr/>
      </dsp:nvSpPr>
      <dsp:spPr>
        <a:xfrm>
          <a:off x="767323" y="2492868"/>
          <a:ext cx="10113401"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b="0" i="0" kern="1200">
              <a:latin typeface="Segoe UI Light" panose="020B0502040204020203" pitchFamily="34" charset="0"/>
            </a:rPr>
            <a:t>Import an </a:t>
          </a:r>
          <a:r>
            <a:rPr lang="en-US" sz="1900" b="0" i="0" kern="1200" err="1">
              <a:latin typeface="Segoe UI Light" panose="020B0502040204020203" pitchFamily="34" charset="0"/>
            </a:rPr>
            <a:t>OpenAPI</a:t>
          </a:r>
          <a:r>
            <a:rPr lang="en-US" sz="1900" b="0" i="0" kern="1200">
              <a:latin typeface="Segoe UI Light" panose="020B0502040204020203" pitchFamily="34" charset="0"/>
            </a:rPr>
            <a:t> from URL</a:t>
          </a:r>
        </a:p>
      </dsp:txBody>
      <dsp:txXfrm>
        <a:off x="767323" y="2492868"/>
        <a:ext cx="10113401" cy="664349"/>
      </dsp:txXfrm>
    </dsp:sp>
    <dsp:sp modelId="{DEBA26BF-3BEB-0B4C-9FF0-E194176C0F71}">
      <dsp:nvSpPr>
        <dsp:cNvPr id="0" name=""/>
        <dsp:cNvSpPr/>
      </dsp:nvSpPr>
      <dsp:spPr>
        <a:xfrm>
          <a:off x="0" y="3323305"/>
          <a:ext cx="10880725" cy="664349"/>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A7BA3752-C53F-CC4D-9971-45D05F271C60}">
      <dsp:nvSpPr>
        <dsp:cNvPr id="0" name=""/>
        <dsp:cNvSpPr/>
      </dsp:nvSpPr>
      <dsp:spPr>
        <a:xfrm>
          <a:off x="200965" y="3472783"/>
          <a:ext cx="365392" cy="36539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EE60BA-FF61-404F-A1E3-0F4CED78D285}">
      <dsp:nvSpPr>
        <dsp:cNvPr id="0" name=""/>
        <dsp:cNvSpPr/>
      </dsp:nvSpPr>
      <dsp:spPr>
        <a:xfrm>
          <a:off x="767323" y="3323305"/>
          <a:ext cx="10113401"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b="0" i="0" kern="1200">
              <a:latin typeface="Segoe UI Light" panose="020B0502040204020203" pitchFamily="34" charset="0"/>
            </a:rPr>
            <a:t>Import a Postman collection</a:t>
          </a:r>
        </a:p>
      </dsp:txBody>
      <dsp:txXfrm>
        <a:off x="767323" y="3323305"/>
        <a:ext cx="10113401" cy="664349"/>
      </dsp:txXfrm>
    </dsp:sp>
    <dsp:sp modelId="{A4D0A183-46B9-9346-94F0-9738B4929113}">
      <dsp:nvSpPr>
        <dsp:cNvPr id="0" name=""/>
        <dsp:cNvSpPr/>
      </dsp:nvSpPr>
      <dsp:spPr>
        <a:xfrm>
          <a:off x="0" y="4153741"/>
          <a:ext cx="10880725" cy="664349"/>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88313EBB-02AE-F348-BDDE-07C72027FDDA}">
      <dsp:nvSpPr>
        <dsp:cNvPr id="0" name=""/>
        <dsp:cNvSpPr/>
      </dsp:nvSpPr>
      <dsp:spPr>
        <a:xfrm>
          <a:off x="200965" y="4303220"/>
          <a:ext cx="365392" cy="365392"/>
        </a:xfrm>
        <a:prstGeom prst="rect">
          <a:avLst/>
        </a:prstGeom>
        <a:blipFill>
          <a:blip xmlns:r="http://schemas.openxmlformats.org/officeDocument/2006/relationships" r:embed="rId11"/>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878AE0B-B1AD-ED4F-84ED-6CA895FE53E6}">
      <dsp:nvSpPr>
        <dsp:cNvPr id="0" name=""/>
        <dsp:cNvSpPr/>
      </dsp:nvSpPr>
      <dsp:spPr>
        <a:xfrm>
          <a:off x="767323" y="4153741"/>
          <a:ext cx="10113401"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b="0" i="0" kern="1200">
              <a:latin typeface="Segoe UI Light" panose="020B0502040204020203" pitchFamily="34" charset="0"/>
            </a:rPr>
            <a:t>Import from GitHub</a:t>
          </a:r>
        </a:p>
      </dsp:txBody>
      <dsp:txXfrm>
        <a:off x="767323" y="4153741"/>
        <a:ext cx="10113401" cy="6643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0D592-C47D-480E-9FCE-0B6AA553978A}">
      <dsp:nvSpPr>
        <dsp:cNvPr id="0" name=""/>
        <dsp:cNvSpPr/>
      </dsp:nvSpPr>
      <dsp:spPr>
        <a:xfrm>
          <a:off x="0" y="1559"/>
          <a:ext cx="10880725" cy="664349"/>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0F544F2F-7B63-4213-B3D8-8A7273281936}">
      <dsp:nvSpPr>
        <dsp:cNvPr id="0" name=""/>
        <dsp:cNvSpPr/>
      </dsp:nvSpPr>
      <dsp:spPr>
        <a:xfrm>
          <a:off x="200965" y="151037"/>
          <a:ext cx="365392" cy="365392"/>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892899B-6826-4880-BD30-CE5A016393F8}">
      <dsp:nvSpPr>
        <dsp:cNvPr id="0" name=""/>
        <dsp:cNvSpPr/>
      </dsp:nvSpPr>
      <dsp:spPr>
        <a:xfrm>
          <a:off x="767323" y="1559"/>
          <a:ext cx="10113401"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b="0" i="0" kern="1200" baseline="0" dirty="0">
              <a:latin typeface="Segoe UI Light" panose="020B0502040204020203" pitchFamily="34" charset="0"/>
            </a:rPr>
            <a:t>Read the docs / know the API you want to build the connector for</a:t>
          </a:r>
          <a:endParaRPr lang="en-US" sz="1900" b="0" i="0" kern="1200" dirty="0">
            <a:latin typeface="Segoe UI Light" panose="020B0502040204020203" pitchFamily="34" charset="0"/>
          </a:endParaRPr>
        </a:p>
      </dsp:txBody>
      <dsp:txXfrm>
        <a:off x="767323" y="1559"/>
        <a:ext cx="10113401" cy="664349"/>
      </dsp:txXfrm>
    </dsp:sp>
    <dsp:sp modelId="{4CDB3BC9-94A8-1942-A0D7-A6C018FBD8C0}">
      <dsp:nvSpPr>
        <dsp:cNvPr id="0" name=""/>
        <dsp:cNvSpPr/>
      </dsp:nvSpPr>
      <dsp:spPr>
        <a:xfrm>
          <a:off x="0" y="831995"/>
          <a:ext cx="10880725" cy="664349"/>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78F5EC67-82DB-3A47-BE47-F2ADC99F3A08}">
      <dsp:nvSpPr>
        <dsp:cNvPr id="0" name=""/>
        <dsp:cNvSpPr/>
      </dsp:nvSpPr>
      <dsp:spPr>
        <a:xfrm>
          <a:off x="200965" y="981474"/>
          <a:ext cx="365392" cy="365392"/>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9082CCF-919A-1445-A443-34F82F2607F2}">
      <dsp:nvSpPr>
        <dsp:cNvPr id="0" name=""/>
        <dsp:cNvSpPr/>
      </dsp:nvSpPr>
      <dsp:spPr>
        <a:xfrm>
          <a:off x="767323" y="831995"/>
          <a:ext cx="10113401"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b="0" i="0" kern="1200">
              <a:latin typeface="Segoe UI Light" panose="020B0502040204020203" pitchFamily="34" charset="0"/>
            </a:rPr>
            <a:t>Start in one of the products (Power Apps, Power Automate or Logic Apps)</a:t>
          </a:r>
        </a:p>
      </dsp:txBody>
      <dsp:txXfrm>
        <a:off x="767323" y="831995"/>
        <a:ext cx="10113401" cy="664349"/>
      </dsp:txXfrm>
    </dsp:sp>
    <dsp:sp modelId="{B4969633-86E4-AB41-BEEF-CAF2378C4FFC}">
      <dsp:nvSpPr>
        <dsp:cNvPr id="0" name=""/>
        <dsp:cNvSpPr/>
      </dsp:nvSpPr>
      <dsp:spPr>
        <a:xfrm>
          <a:off x="0" y="1662432"/>
          <a:ext cx="10880725" cy="664349"/>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BAA21375-639A-3F41-8793-387ACBF9EA6B}">
      <dsp:nvSpPr>
        <dsp:cNvPr id="0" name=""/>
        <dsp:cNvSpPr/>
      </dsp:nvSpPr>
      <dsp:spPr>
        <a:xfrm>
          <a:off x="200965" y="1811910"/>
          <a:ext cx="365392" cy="365392"/>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64BE0B-40F6-8D46-B696-2F043B63C4F9}">
      <dsp:nvSpPr>
        <dsp:cNvPr id="0" name=""/>
        <dsp:cNvSpPr/>
      </dsp:nvSpPr>
      <dsp:spPr>
        <a:xfrm>
          <a:off x="767323" y="1662432"/>
          <a:ext cx="10113401"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b="0" i="0" kern="1200">
              <a:latin typeface="Segoe UI Light" panose="020B0502040204020203" pitchFamily="34" charset="0"/>
            </a:rPr>
            <a:t>Set up the authentication</a:t>
          </a:r>
        </a:p>
      </dsp:txBody>
      <dsp:txXfrm>
        <a:off x="767323" y="1662432"/>
        <a:ext cx="10113401" cy="664349"/>
      </dsp:txXfrm>
    </dsp:sp>
    <dsp:sp modelId="{9BEC0F33-85C8-F249-8219-2A26EF3935D7}">
      <dsp:nvSpPr>
        <dsp:cNvPr id="0" name=""/>
        <dsp:cNvSpPr/>
      </dsp:nvSpPr>
      <dsp:spPr>
        <a:xfrm>
          <a:off x="0" y="2492868"/>
          <a:ext cx="10880725" cy="664349"/>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66DDA7D1-85F3-464F-A13A-715D7A05735B}">
      <dsp:nvSpPr>
        <dsp:cNvPr id="0" name=""/>
        <dsp:cNvSpPr/>
      </dsp:nvSpPr>
      <dsp:spPr>
        <a:xfrm>
          <a:off x="200965" y="2642347"/>
          <a:ext cx="365392" cy="365392"/>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439FD84-2DF6-2B48-9EC9-760552FA8F7A}">
      <dsp:nvSpPr>
        <dsp:cNvPr id="0" name=""/>
        <dsp:cNvSpPr/>
      </dsp:nvSpPr>
      <dsp:spPr>
        <a:xfrm>
          <a:off x="767323" y="2492868"/>
          <a:ext cx="10113401"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b="0" i="0" kern="1200">
              <a:latin typeface="Segoe UI Light" panose="020B0502040204020203" pitchFamily="34" charset="0"/>
            </a:rPr>
            <a:t>Define the operations (triggers / actions) for your connector</a:t>
          </a:r>
        </a:p>
      </dsp:txBody>
      <dsp:txXfrm>
        <a:off x="767323" y="2492868"/>
        <a:ext cx="10113401" cy="664349"/>
      </dsp:txXfrm>
    </dsp:sp>
    <dsp:sp modelId="{DEBA26BF-3BEB-0B4C-9FF0-E194176C0F71}">
      <dsp:nvSpPr>
        <dsp:cNvPr id="0" name=""/>
        <dsp:cNvSpPr/>
      </dsp:nvSpPr>
      <dsp:spPr>
        <a:xfrm>
          <a:off x="0" y="3323305"/>
          <a:ext cx="10880725" cy="664349"/>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A7BA3752-C53F-CC4D-9971-45D05F271C60}">
      <dsp:nvSpPr>
        <dsp:cNvPr id="0" name=""/>
        <dsp:cNvSpPr/>
      </dsp:nvSpPr>
      <dsp:spPr>
        <a:xfrm>
          <a:off x="200965" y="3472783"/>
          <a:ext cx="365392" cy="365392"/>
        </a:xfrm>
        <a:prstGeom prst="rect">
          <a:avLst/>
        </a:prstGeom>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EE60BA-FF61-404F-A1E3-0F4CED78D285}">
      <dsp:nvSpPr>
        <dsp:cNvPr id="0" name=""/>
        <dsp:cNvSpPr/>
      </dsp:nvSpPr>
      <dsp:spPr>
        <a:xfrm>
          <a:off x="767323" y="3323305"/>
          <a:ext cx="10113401"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b="0" i="0" kern="1200">
              <a:latin typeface="Segoe UI Light" panose="020B0502040204020203" pitchFamily="34" charset="0"/>
            </a:rPr>
            <a:t>Add code if needed (for now, C# code is supported)</a:t>
          </a:r>
        </a:p>
      </dsp:txBody>
      <dsp:txXfrm>
        <a:off x="767323" y="3323305"/>
        <a:ext cx="10113401" cy="664349"/>
      </dsp:txXfrm>
    </dsp:sp>
    <dsp:sp modelId="{A4D0A183-46B9-9346-94F0-9738B4929113}">
      <dsp:nvSpPr>
        <dsp:cNvPr id="0" name=""/>
        <dsp:cNvSpPr/>
      </dsp:nvSpPr>
      <dsp:spPr>
        <a:xfrm>
          <a:off x="0" y="4153741"/>
          <a:ext cx="10880725" cy="664349"/>
        </a:xfrm>
        <a:prstGeom prst="roundRect">
          <a:avLst>
            <a:gd name="adj" fmla="val 10000"/>
          </a:avLst>
        </a:prstGeom>
        <a:solidFill>
          <a:schemeClr val="bg2"/>
        </a:solidFill>
        <a:ln>
          <a:noFill/>
        </a:ln>
        <a:effectLst/>
      </dsp:spPr>
      <dsp:style>
        <a:lnRef idx="0">
          <a:scrgbClr r="0" g="0" b="0"/>
        </a:lnRef>
        <a:fillRef idx="1">
          <a:scrgbClr r="0" g="0" b="0"/>
        </a:fillRef>
        <a:effectRef idx="0">
          <a:scrgbClr r="0" g="0" b="0"/>
        </a:effectRef>
        <a:fontRef idx="minor"/>
      </dsp:style>
    </dsp:sp>
    <dsp:sp modelId="{88313EBB-02AE-F348-BDDE-07C72027FDDA}">
      <dsp:nvSpPr>
        <dsp:cNvPr id="0" name=""/>
        <dsp:cNvSpPr/>
      </dsp:nvSpPr>
      <dsp:spPr>
        <a:xfrm>
          <a:off x="200965" y="4303220"/>
          <a:ext cx="365392" cy="365392"/>
        </a:xfrm>
        <a:prstGeom prst="rect">
          <a:avLst/>
        </a:prstGeom>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878AE0B-B1AD-ED4F-84ED-6CA895FE53E6}">
      <dsp:nvSpPr>
        <dsp:cNvPr id="0" name=""/>
        <dsp:cNvSpPr/>
      </dsp:nvSpPr>
      <dsp:spPr>
        <a:xfrm>
          <a:off x="767323" y="4153741"/>
          <a:ext cx="10113401"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100000"/>
            </a:lnSpc>
            <a:spcBef>
              <a:spcPct val="0"/>
            </a:spcBef>
            <a:spcAft>
              <a:spcPct val="35000"/>
            </a:spcAft>
            <a:buNone/>
          </a:pPr>
          <a:r>
            <a:rPr lang="en-US" sz="1900" b="0" i="0" kern="1200">
              <a:latin typeface="Segoe UI Light" panose="020B0502040204020203" pitchFamily="34" charset="0"/>
            </a:rPr>
            <a:t>Save and test your connector</a:t>
          </a:r>
        </a:p>
      </dsp:txBody>
      <dsp:txXfrm>
        <a:off x="767323" y="4153741"/>
        <a:ext cx="10113401" cy="664349"/>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B4B101-3225-4967-95B5-ED5755256DE0}" type="datetimeFigureOut">
              <a:rPr lang="en-GB" smtClean="0"/>
              <a:t>15/06/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EB8C794-77EE-4724-B493-2E0907BFA558}" type="slidenum">
              <a:rPr lang="en-GB" smtClean="0"/>
              <a:t>‹#›</a:t>
            </a:fld>
            <a:endParaRPr lang="en-GB"/>
          </a:p>
        </p:txBody>
      </p:sp>
    </p:spTree>
    <p:extLst>
      <p:ext uri="{BB962C8B-B14F-4D97-AF65-F5344CB8AC3E}">
        <p14:creationId xmlns:p14="http://schemas.microsoft.com/office/powerpoint/2010/main" val="17023183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sz="1200" b="1" kern="1200" dirty="0">
                <a:solidFill>
                  <a:schemeClr val="tx1"/>
                </a:solidFill>
                <a:effectLst/>
                <a:latin typeface="+mn-lt"/>
                <a:ea typeface="+mn-ea"/>
                <a:cs typeface="+mn-cs"/>
              </a:rPr>
              <a:t>EPPC25 Branded Splash Screen</a:t>
            </a:r>
            <a:endParaRPr lang="en-IE" sz="1200" kern="1200" dirty="0">
              <a:solidFill>
                <a:schemeClr val="tx1"/>
              </a:solidFill>
              <a:effectLst/>
              <a:latin typeface="+mn-lt"/>
              <a:ea typeface="+mn-ea"/>
              <a:cs typeface="+mn-cs"/>
            </a:endParaRPr>
          </a:p>
          <a:p>
            <a:endParaRPr lang="en-IE" sz="1200" kern="1200" dirty="0">
              <a:solidFill>
                <a:schemeClr val="tx1"/>
              </a:solidFill>
              <a:effectLst/>
              <a:latin typeface="+mn-lt"/>
              <a:ea typeface="+mn-ea"/>
              <a:cs typeface="+mn-cs"/>
            </a:endParaRPr>
          </a:p>
          <a:p>
            <a:r>
              <a:rPr lang="en-IE" sz="1200" kern="1200" dirty="0">
                <a:solidFill>
                  <a:schemeClr val="tx1"/>
                </a:solidFill>
                <a:effectLst/>
                <a:latin typeface="+mn-lt"/>
                <a:ea typeface="+mn-ea"/>
                <a:cs typeface="+mn-cs"/>
              </a:rPr>
              <a:t>Slide #1 on all presentations. </a:t>
            </a:r>
          </a:p>
          <a:p>
            <a:endParaRPr lang="en-IE" sz="1200" kern="1200" dirty="0">
              <a:solidFill>
                <a:schemeClr val="tx1"/>
              </a:solidFill>
              <a:effectLst/>
              <a:latin typeface="+mn-lt"/>
              <a:ea typeface="+mn-ea"/>
              <a:cs typeface="+mn-cs"/>
            </a:endParaRPr>
          </a:p>
          <a:p>
            <a:r>
              <a:rPr lang="en-IE" sz="1200" b="1" kern="1200" dirty="0">
                <a:solidFill>
                  <a:srgbClr val="FF0000"/>
                </a:solidFill>
                <a:effectLst/>
                <a:latin typeface="+mn-lt"/>
                <a:ea typeface="+mn-ea"/>
                <a:cs typeface="+mn-cs"/>
              </a:rPr>
              <a:t>The speaker should not edit, move or delete this slide.</a:t>
            </a:r>
            <a:endParaRPr lang="en-IE" sz="1200" kern="1200" dirty="0">
              <a:solidFill>
                <a:srgbClr val="FF0000"/>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EB8C794-77EE-4724-B493-2E0907BFA558}" type="slidenum">
              <a:rPr lang="en-GB" smtClean="0"/>
              <a:t>1</a:t>
            </a:fld>
            <a:endParaRPr lang="en-GB"/>
          </a:p>
        </p:txBody>
      </p:sp>
    </p:spTree>
    <p:extLst>
      <p:ext uri="{BB962C8B-B14F-4D97-AF65-F5344CB8AC3E}">
        <p14:creationId xmlns:p14="http://schemas.microsoft.com/office/powerpoint/2010/main" val="1818207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resentation Title Slide</a:t>
            </a:r>
          </a:p>
          <a:p>
            <a:endParaRPr lang="en-US" dirty="0"/>
          </a:p>
          <a:p>
            <a:r>
              <a:rPr lang="en-US" dirty="0"/>
              <a:t>Please input your presentation title, your name, title, company name and country.</a:t>
            </a:r>
          </a:p>
        </p:txBody>
      </p:sp>
      <p:sp>
        <p:nvSpPr>
          <p:cNvPr id="4" name="Slide Number Placeholder 3"/>
          <p:cNvSpPr>
            <a:spLocks noGrp="1"/>
          </p:cNvSpPr>
          <p:nvPr>
            <p:ph type="sldNum" sz="quarter" idx="5"/>
          </p:nvPr>
        </p:nvSpPr>
        <p:spPr/>
        <p:txBody>
          <a:bodyPr/>
          <a:lstStyle/>
          <a:p>
            <a:fld id="{7EB8C794-77EE-4724-B493-2E0907BFA558}" type="slidenum">
              <a:rPr lang="en-GB" smtClean="0"/>
              <a:t>2</a:t>
            </a:fld>
            <a:endParaRPr lang="en-GB"/>
          </a:p>
        </p:txBody>
      </p:sp>
    </p:spTree>
    <p:extLst>
      <p:ext uri="{BB962C8B-B14F-4D97-AF65-F5344CB8AC3E}">
        <p14:creationId xmlns:p14="http://schemas.microsoft.com/office/powerpoint/2010/main" val="793011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57234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13E1BD-086D-16C7-CE2E-8302BD675C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AA23EE-8019-97A6-11BF-95A86D2DFC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F2B42A-6C19-89CE-AEC9-8089E117094E}"/>
              </a:ext>
            </a:extLst>
          </p:cNvPr>
          <p:cNvSpPr>
            <a:spLocks noGrp="1"/>
          </p:cNvSpPr>
          <p:nvPr>
            <p:ph type="body" idx="1"/>
          </p:nvPr>
        </p:nvSpPr>
        <p:spPr/>
        <p:txBody>
          <a:bodyPr/>
          <a:lstStyle/>
          <a:p>
            <a:r>
              <a:rPr lang="en-IE" sz="1200" b="1" kern="1200" dirty="0">
                <a:solidFill>
                  <a:schemeClr val="tx1"/>
                </a:solidFill>
                <a:effectLst/>
                <a:latin typeface="+mn-lt"/>
                <a:ea typeface="+mn-ea"/>
                <a:cs typeface="+mn-cs"/>
              </a:rPr>
              <a:t>Section Break Slide</a:t>
            </a:r>
            <a:endParaRPr lang="en-IE" sz="1200" kern="1200" dirty="0">
              <a:solidFill>
                <a:schemeClr val="tx1"/>
              </a:solidFill>
              <a:effectLst/>
              <a:latin typeface="+mn-lt"/>
              <a:ea typeface="+mn-ea"/>
              <a:cs typeface="+mn-cs"/>
            </a:endParaRPr>
          </a:p>
          <a:p>
            <a:endParaRPr lang="en-IE" sz="1200" kern="1200" dirty="0">
              <a:solidFill>
                <a:schemeClr val="tx1"/>
              </a:solidFill>
              <a:effectLst/>
              <a:latin typeface="+mn-lt"/>
              <a:ea typeface="+mn-ea"/>
              <a:cs typeface="+mn-cs"/>
            </a:endParaRPr>
          </a:p>
          <a:p>
            <a:r>
              <a:rPr lang="en-IE" sz="1200" kern="1200" dirty="0">
                <a:solidFill>
                  <a:schemeClr val="tx1"/>
                </a:solidFill>
                <a:effectLst/>
                <a:latin typeface="+mn-lt"/>
                <a:ea typeface="+mn-ea"/>
                <a:cs typeface="+mn-cs"/>
              </a:rPr>
              <a:t>Use this slide for starting a new section of the presentation.</a:t>
            </a:r>
          </a:p>
          <a:p>
            <a:endParaRPr lang="en-IE" sz="1200" kern="1200" dirty="0">
              <a:solidFill>
                <a:schemeClr val="tx1"/>
              </a:solidFill>
              <a:effectLst/>
              <a:latin typeface="+mn-lt"/>
              <a:ea typeface="+mn-ea"/>
              <a:cs typeface="+mn-cs"/>
            </a:endParaRPr>
          </a:p>
          <a:p>
            <a:r>
              <a:rPr lang="en-IE" sz="1200" kern="1200" dirty="0">
                <a:solidFill>
                  <a:schemeClr val="tx1"/>
                </a:solidFill>
                <a:effectLst/>
                <a:latin typeface="+mn-lt"/>
                <a:ea typeface="+mn-ea"/>
                <a:cs typeface="+mn-cs"/>
              </a:rPr>
              <a:t>Input the name of the section in the text field.</a:t>
            </a:r>
          </a:p>
          <a:p>
            <a:endParaRPr lang="en-US" dirty="0"/>
          </a:p>
        </p:txBody>
      </p:sp>
      <p:sp>
        <p:nvSpPr>
          <p:cNvPr id="4" name="Slide Number Placeholder 3">
            <a:extLst>
              <a:ext uri="{FF2B5EF4-FFF2-40B4-BE49-F238E27FC236}">
                <a16:creationId xmlns:a16="http://schemas.microsoft.com/office/drawing/2014/main" id="{3F43FCC0-0B54-B054-5207-A2EB6558DAD6}"/>
              </a:ext>
            </a:extLst>
          </p:cNvPr>
          <p:cNvSpPr>
            <a:spLocks noGrp="1"/>
          </p:cNvSpPr>
          <p:nvPr>
            <p:ph type="sldNum" sz="quarter" idx="5"/>
          </p:nvPr>
        </p:nvSpPr>
        <p:spPr/>
        <p:txBody>
          <a:bodyPr/>
          <a:lstStyle/>
          <a:p>
            <a:fld id="{7EB8C794-77EE-4724-B493-2E0907BFA558}" type="slidenum">
              <a:rPr lang="en-GB" smtClean="0"/>
              <a:t>10</a:t>
            </a:fld>
            <a:endParaRPr lang="en-GB"/>
          </a:p>
        </p:txBody>
      </p:sp>
    </p:spTree>
    <p:extLst>
      <p:ext uri="{BB962C8B-B14F-4D97-AF65-F5344CB8AC3E}">
        <p14:creationId xmlns:p14="http://schemas.microsoft.com/office/powerpoint/2010/main" val="20173963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962948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6788538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16.jpeg"/><Relationship Id="rId1" Type="http://schemas.openxmlformats.org/officeDocument/2006/relationships/slideMaster" Target="../slideMasters/slideMaster5.xml"/><Relationship Id="rId4" Type="http://schemas.openxmlformats.org/officeDocument/2006/relationships/image" Target="../media/image24.jpe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5.xml"/><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5.xml"/><Relationship Id="rId4" Type="http://schemas.openxmlformats.org/officeDocument/2006/relationships/image" Target="../media/image33.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5.xml"/><Relationship Id="rId5" Type="http://schemas.openxmlformats.org/officeDocument/2006/relationships/image" Target="../media/image37.jpeg"/><Relationship Id="rId4" Type="http://schemas.openxmlformats.org/officeDocument/2006/relationships/image" Target="../media/image36.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5.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5.xml"/><Relationship Id="rId4" Type="http://schemas.openxmlformats.org/officeDocument/2006/relationships/image" Target="../media/image45.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5.xml"/><Relationship Id="rId5" Type="http://schemas.openxmlformats.org/officeDocument/2006/relationships/image" Target="../media/image46.jpeg"/><Relationship Id="rId4" Type="http://schemas.openxmlformats.org/officeDocument/2006/relationships/image" Target="../media/image45.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Master" Target="../slideMasters/slideMaster5.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jpe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plash Sc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83124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ain Content : Visual Data + Text">
    <p:spTree>
      <p:nvGrpSpPr>
        <p:cNvPr id="1" name=""/>
        <p:cNvGrpSpPr/>
        <p:nvPr/>
      </p:nvGrpSpPr>
      <p:grpSpPr>
        <a:xfrm>
          <a:off x="0" y="0"/>
          <a:ext cx="0" cy="0"/>
          <a:chOff x="0" y="0"/>
          <a:chExt cx="0" cy="0"/>
        </a:xfrm>
      </p:grpSpPr>
      <p:sp>
        <p:nvSpPr>
          <p:cNvPr id="6" name="Title 10">
            <a:extLst>
              <a:ext uri="{FF2B5EF4-FFF2-40B4-BE49-F238E27FC236}">
                <a16:creationId xmlns:a16="http://schemas.microsoft.com/office/drawing/2014/main" id="{1C79D75D-1604-BB44-B1C9-298036D703C2}"/>
              </a:ext>
            </a:extLst>
          </p:cNvPr>
          <p:cNvSpPr>
            <a:spLocks noGrp="1"/>
          </p:cNvSpPr>
          <p:nvPr>
            <p:ph type="title" hasCustomPrompt="1"/>
          </p:nvPr>
        </p:nvSpPr>
        <p:spPr>
          <a:xfrm>
            <a:off x="6196264" y="798262"/>
            <a:ext cx="5204111" cy="1046579"/>
          </a:xfrm>
          <a:prstGeom prst="rect">
            <a:avLst/>
          </a:prstGeom>
        </p:spPr>
        <p:txBody>
          <a:bodyPr/>
          <a:lstStyle>
            <a:lvl1pPr>
              <a:defRPr sz="3200" b="1">
                <a:solidFill>
                  <a:srgbClr val="3679FC"/>
                </a:solidFill>
                <a:latin typeface="+mn-lt"/>
              </a:defRPr>
            </a:lvl1pPr>
          </a:lstStyle>
          <a:p>
            <a:r>
              <a:rPr lang="en-US" dirty="0"/>
              <a:t>CLICK TO EDIT MASTER TITLE STYLE</a:t>
            </a:r>
          </a:p>
        </p:txBody>
      </p:sp>
      <p:sp>
        <p:nvSpPr>
          <p:cNvPr id="7" name="Text Placeholder 12">
            <a:extLst>
              <a:ext uri="{FF2B5EF4-FFF2-40B4-BE49-F238E27FC236}">
                <a16:creationId xmlns:a16="http://schemas.microsoft.com/office/drawing/2014/main" id="{005221B5-9309-224F-87A9-A3D8D9938437}"/>
              </a:ext>
            </a:extLst>
          </p:cNvPr>
          <p:cNvSpPr>
            <a:spLocks noGrp="1"/>
          </p:cNvSpPr>
          <p:nvPr>
            <p:ph type="body" sz="quarter" idx="12"/>
          </p:nvPr>
        </p:nvSpPr>
        <p:spPr>
          <a:xfrm>
            <a:off x="6176462" y="2005263"/>
            <a:ext cx="5213433" cy="3930399"/>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7">
            <a:extLst>
              <a:ext uri="{FF2B5EF4-FFF2-40B4-BE49-F238E27FC236}">
                <a16:creationId xmlns:a16="http://schemas.microsoft.com/office/drawing/2014/main" id="{FDD66AF7-F6A9-AC40-9D50-9BAAC73B385D}"/>
              </a:ext>
            </a:extLst>
          </p:cNvPr>
          <p:cNvSpPr>
            <a:spLocks noGrp="1"/>
          </p:cNvSpPr>
          <p:nvPr>
            <p:ph sz="quarter" idx="13"/>
          </p:nvPr>
        </p:nvSpPr>
        <p:spPr>
          <a:xfrm>
            <a:off x="742951" y="757238"/>
            <a:ext cx="5243512" cy="52006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50448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9D966-99ED-8AEF-2DC2-8C1EB1389B74}"/>
              </a:ext>
            </a:extLst>
          </p:cNvPr>
          <p:cNvSpPr>
            <a:spLocks noGrp="1"/>
          </p:cNvSpPr>
          <p:nvPr>
            <p:ph type="title"/>
          </p:nvPr>
        </p:nvSpPr>
        <p:spPr>
          <a:xfrm>
            <a:off x="839788" y="365125"/>
            <a:ext cx="10515600" cy="1325563"/>
          </a:xfrm>
        </p:spPr>
        <p:txBody>
          <a:bodyPr/>
          <a:lstStyle/>
          <a:p>
            <a:r>
              <a:rPr lang="en-US"/>
              <a:t>Click to edit Master title style</a:t>
            </a:r>
            <a:endParaRPr lang="en-DE"/>
          </a:p>
        </p:txBody>
      </p:sp>
      <p:sp>
        <p:nvSpPr>
          <p:cNvPr id="3" name="Text Placeholder 2">
            <a:extLst>
              <a:ext uri="{FF2B5EF4-FFF2-40B4-BE49-F238E27FC236}">
                <a16:creationId xmlns:a16="http://schemas.microsoft.com/office/drawing/2014/main" id="{4D7BDCDE-3B9D-F93B-82B0-10A833E9562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2DFAC44-F82E-9E3A-8806-E4AAADCF0D2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
        <p:nvSpPr>
          <p:cNvPr id="5" name="Text Placeholder 4">
            <a:extLst>
              <a:ext uri="{FF2B5EF4-FFF2-40B4-BE49-F238E27FC236}">
                <a16:creationId xmlns:a16="http://schemas.microsoft.com/office/drawing/2014/main" id="{B6BDB75F-58B0-B3A7-AE2E-2E0C544E214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4A94B38-ECE1-85FC-B5AB-C422EC4208E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Tree>
    <p:extLst>
      <p:ext uri="{BB962C8B-B14F-4D97-AF65-F5344CB8AC3E}">
        <p14:creationId xmlns:p14="http://schemas.microsoft.com/office/powerpoint/2010/main" val="250279592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657D57-03CD-FBB3-D45C-454C4FF7828C}"/>
              </a:ext>
            </a:extLst>
          </p:cNvPr>
          <p:cNvSpPr>
            <a:spLocks noGrp="1"/>
          </p:cNvSpPr>
          <p:nvPr>
            <p:ph type="title"/>
          </p:nvPr>
        </p:nvSpPr>
        <p:spPr/>
        <p:txBody>
          <a:bodyPr/>
          <a:lstStyle/>
          <a:p>
            <a:r>
              <a:rPr lang="en-US"/>
              <a:t>Click to edit Master title style</a:t>
            </a:r>
            <a:endParaRPr lang="en-DE"/>
          </a:p>
        </p:txBody>
      </p:sp>
    </p:spTree>
    <p:extLst>
      <p:ext uri="{BB962C8B-B14F-4D97-AF65-F5344CB8AC3E}">
        <p14:creationId xmlns:p14="http://schemas.microsoft.com/office/powerpoint/2010/main" val="20970251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399184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F1DAE-78D9-D660-8763-39F94DEB17A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DE"/>
          </a:p>
        </p:txBody>
      </p:sp>
      <p:sp>
        <p:nvSpPr>
          <p:cNvPr id="3" name="Content Placeholder 2">
            <a:extLst>
              <a:ext uri="{FF2B5EF4-FFF2-40B4-BE49-F238E27FC236}">
                <a16:creationId xmlns:a16="http://schemas.microsoft.com/office/drawing/2014/main" id="{0B626466-EC57-63E7-F5E8-97E59A6603C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DE" dirty="0"/>
          </a:p>
        </p:txBody>
      </p:sp>
      <p:sp>
        <p:nvSpPr>
          <p:cNvPr id="4" name="Text Placeholder 3">
            <a:extLst>
              <a:ext uri="{FF2B5EF4-FFF2-40B4-BE49-F238E27FC236}">
                <a16:creationId xmlns:a16="http://schemas.microsoft.com/office/drawing/2014/main" id="{32A8C202-40F1-C73E-727D-B1F7C48D3B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3330023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64041-2688-89FB-065C-0ACF177D833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DE"/>
          </a:p>
        </p:txBody>
      </p:sp>
      <p:sp>
        <p:nvSpPr>
          <p:cNvPr id="3" name="Picture Placeholder 2">
            <a:extLst>
              <a:ext uri="{FF2B5EF4-FFF2-40B4-BE49-F238E27FC236}">
                <a16:creationId xmlns:a16="http://schemas.microsoft.com/office/drawing/2014/main" id="{5089B714-40A9-F652-F7B5-24B47DBBBF8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DE"/>
          </a:p>
        </p:txBody>
      </p:sp>
      <p:sp>
        <p:nvSpPr>
          <p:cNvPr id="4" name="Text Placeholder 3">
            <a:extLst>
              <a:ext uri="{FF2B5EF4-FFF2-40B4-BE49-F238E27FC236}">
                <a16:creationId xmlns:a16="http://schemas.microsoft.com/office/drawing/2014/main" id="{43DE02D3-3391-21D0-3946-7152A2BE93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28381273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4E58D-C5BA-FCC9-CF3E-77A1E453759C}"/>
              </a:ext>
            </a:extLst>
          </p:cNvPr>
          <p:cNvSpPr>
            <a:spLocks noGrp="1"/>
          </p:cNvSpPr>
          <p:nvPr>
            <p:ph type="title"/>
          </p:nvPr>
        </p:nvSpPr>
        <p:spPr/>
        <p:txBody>
          <a:bodyPr/>
          <a:lstStyle/>
          <a:p>
            <a:r>
              <a:rPr lang="en-US"/>
              <a:t>Click to edit Master title style</a:t>
            </a:r>
            <a:endParaRPr lang="en-DE"/>
          </a:p>
        </p:txBody>
      </p:sp>
      <p:sp>
        <p:nvSpPr>
          <p:cNvPr id="3" name="Vertical Text Placeholder 2">
            <a:extLst>
              <a:ext uri="{FF2B5EF4-FFF2-40B4-BE49-F238E27FC236}">
                <a16:creationId xmlns:a16="http://schemas.microsoft.com/office/drawing/2014/main" id="{06C514B5-C30B-009F-5978-53BDCD1FBA8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Tree>
    <p:extLst>
      <p:ext uri="{BB962C8B-B14F-4D97-AF65-F5344CB8AC3E}">
        <p14:creationId xmlns:p14="http://schemas.microsoft.com/office/powerpoint/2010/main" val="42992011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47B3405-1ADD-CFE9-CE07-DF0484333AF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DE"/>
          </a:p>
        </p:txBody>
      </p:sp>
      <p:sp>
        <p:nvSpPr>
          <p:cNvPr id="3" name="Vertical Text Placeholder 2">
            <a:extLst>
              <a:ext uri="{FF2B5EF4-FFF2-40B4-BE49-F238E27FC236}">
                <a16:creationId xmlns:a16="http://schemas.microsoft.com/office/drawing/2014/main" id="{69D24A1E-144D-B756-3EFC-F2396C4578F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Tree>
    <p:extLst>
      <p:ext uri="{BB962C8B-B14F-4D97-AF65-F5344CB8AC3E}">
        <p14:creationId xmlns:p14="http://schemas.microsoft.com/office/powerpoint/2010/main" val="107621332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CF920D-D0CB-BA65-1C24-D5DC8AF5C73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CF0094E-3521-145D-86E8-AFD934BA43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38612D4-FB68-B8FB-1A1B-FB3358514BA2}"/>
              </a:ext>
            </a:extLst>
          </p:cNvPr>
          <p:cNvSpPr>
            <a:spLocks noGrp="1"/>
          </p:cNvSpPr>
          <p:nvPr>
            <p:ph type="dt" sz="half" idx="10"/>
          </p:nvPr>
        </p:nvSpPr>
        <p:spPr/>
        <p:txBody>
          <a:bodyPr/>
          <a:lstStyle/>
          <a:p>
            <a:fld id="{D2F33161-56AF-4572-ADA3-06B66150B150}" type="datetimeFigureOut">
              <a:rPr lang="en-US" smtClean="0"/>
              <a:t>6/15/2025</a:t>
            </a:fld>
            <a:endParaRPr lang="en-US"/>
          </a:p>
        </p:txBody>
      </p:sp>
      <p:sp>
        <p:nvSpPr>
          <p:cNvPr id="5" name="Footer Placeholder 4">
            <a:extLst>
              <a:ext uri="{FF2B5EF4-FFF2-40B4-BE49-F238E27FC236}">
                <a16:creationId xmlns:a16="http://schemas.microsoft.com/office/drawing/2014/main" id="{D2798B32-9229-7757-CEBB-07C63B3A24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5DF83D-80CD-4454-09B5-0A7219C91F34}"/>
              </a:ext>
            </a:extLst>
          </p:cNvPr>
          <p:cNvSpPr>
            <a:spLocks noGrp="1"/>
          </p:cNvSpPr>
          <p:nvPr>
            <p:ph type="sldNum" sz="quarter" idx="12"/>
          </p:nvPr>
        </p:nvSpPr>
        <p:spPr/>
        <p:txBody>
          <a:bodyPr/>
          <a:lstStyle/>
          <a:p>
            <a:fld id="{20EE1B64-8348-49F2-A323-8BE900313399}" type="slidenum">
              <a:rPr lang="en-US" smtClean="0"/>
              <a:t>‹#›</a:t>
            </a:fld>
            <a:endParaRPr lang="en-US"/>
          </a:p>
        </p:txBody>
      </p:sp>
    </p:spTree>
    <p:extLst>
      <p:ext uri="{BB962C8B-B14F-4D97-AF65-F5344CB8AC3E}">
        <p14:creationId xmlns:p14="http://schemas.microsoft.com/office/powerpoint/2010/main" val="288267317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ext Content Sticker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92D2AC5-7411-A3E8-8E2A-541F214988A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28D2436-6667-2CBB-7286-D61530464441}"/>
              </a:ext>
            </a:extLst>
          </p:cNvPr>
          <p:cNvSpPr>
            <a:spLocks noGrp="1"/>
          </p:cNvSpPr>
          <p:nvPr>
            <p:ph type="sldNum" sz="quarter" idx="12"/>
          </p:nvPr>
        </p:nvSpPr>
        <p:spPr/>
        <p:txBody>
          <a:bodyPr/>
          <a:lstStyle/>
          <a:p>
            <a:endParaRPr lang="en-US" dirty="0"/>
          </a:p>
        </p:txBody>
      </p:sp>
      <p:sp>
        <p:nvSpPr>
          <p:cNvPr id="7" name="Title 1">
            <a:extLst>
              <a:ext uri="{FF2B5EF4-FFF2-40B4-BE49-F238E27FC236}">
                <a16:creationId xmlns:a16="http://schemas.microsoft.com/office/drawing/2014/main" id="{356F71A0-9313-0DA7-0E36-53BD76C3DD60}"/>
              </a:ext>
            </a:extLst>
          </p:cNvPr>
          <p:cNvSpPr>
            <a:spLocks noGrp="1"/>
          </p:cNvSpPr>
          <p:nvPr>
            <p:ph type="title"/>
          </p:nvPr>
        </p:nvSpPr>
        <p:spPr>
          <a:xfrm>
            <a:off x="491067" y="476250"/>
            <a:ext cx="11113557" cy="1116013"/>
          </a:xfrm>
        </p:spPr>
        <p:txBody>
          <a:bodyPr/>
          <a:lstStyle>
            <a:lvl1pPr>
              <a:defRPr b="0" i="0">
                <a:latin typeface="Montserrat SemiBold" panose="00000700000000000000" pitchFamily="2" charset="0"/>
              </a:defRPr>
            </a:lvl1pPr>
          </a:lstStyle>
          <a:p>
            <a:r>
              <a:rPr lang="de-DE" dirty="0"/>
              <a:t>Mastertitelformat bearbeiten</a:t>
            </a:r>
            <a:endParaRPr lang="en-US" dirty="0"/>
          </a:p>
        </p:txBody>
      </p:sp>
      <p:sp>
        <p:nvSpPr>
          <p:cNvPr id="8" name="Content Placeholder 2">
            <a:extLst>
              <a:ext uri="{FF2B5EF4-FFF2-40B4-BE49-F238E27FC236}">
                <a16:creationId xmlns:a16="http://schemas.microsoft.com/office/drawing/2014/main" id="{49AABAE1-8A90-7694-7305-79E0863AC7EC}"/>
              </a:ext>
            </a:extLst>
          </p:cNvPr>
          <p:cNvSpPr>
            <a:spLocks noGrp="1"/>
          </p:cNvSpPr>
          <p:nvPr>
            <p:ph idx="1"/>
          </p:nvPr>
        </p:nvSpPr>
        <p:spPr>
          <a:xfrm>
            <a:off x="491067" y="1592263"/>
            <a:ext cx="11113558" cy="4364675"/>
          </a:xfrm>
        </p:spPr>
        <p:txBody>
          <a:bodyPr tIns="0"/>
          <a:lstStyle>
            <a:lvl1pPr marL="0" indent="0">
              <a:lnSpc>
                <a:spcPct val="100000"/>
              </a:lnSpc>
              <a:spcBef>
                <a:spcPts val="0"/>
              </a:spcBef>
              <a:spcAft>
                <a:spcPts val="600"/>
              </a:spcAft>
              <a:buNone/>
              <a:defRPr sz="3600"/>
            </a:lvl1pPr>
            <a:lvl2pPr marL="47625" indent="0">
              <a:lnSpc>
                <a:spcPct val="100000"/>
              </a:lnSpc>
              <a:spcBef>
                <a:spcPts val="0"/>
              </a:spcBef>
              <a:spcAft>
                <a:spcPts val="600"/>
              </a:spcAft>
              <a:buNone/>
              <a:tabLst/>
              <a:defRPr sz="2000"/>
            </a:lvl2pPr>
            <a:lvl3pPr marL="47625" indent="0">
              <a:lnSpc>
                <a:spcPct val="100000"/>
              </a:lnSpc>
              <a:spcBef>
                <a:spcPts val="0"/>
              </a:spcBef>
              <a:spcAft>
                <a:spcPts val="600"/>
              </a:spcAft>
              <a:buNone/>
              <a:tabLst/>
              <a:defRPr/>
            </a:lvl3pPr>
            <a:lvl4pPr marL="47625" indent="0">
              <a:lnSpc>
                <a:spcPct val="100000"/>
              </a:lnSpc>
              <a:spcBef>
                <a:spcPts val="0"/>
              </a:spcBef>
              <a:spcAft>
                <a:spcPts val="600"/>
              </a:spcAft>
              <a:buNone/>
              <a:tabLst/>
              <a:defRPr sz="1200"/>
            </a:lvl4pPr>
            <a:lvl5pPr marL="47625" indent="0">
              <a:lnSpc>
                <a:spcPct val="100000"/>
              </a:lnSpc>
              <a:spcBef>
                <a:spcPts val="0"/>
              </a:spcBef>
              <a:spcAft>
                <a:spcPts val="600"/>
              </a:spcAft>
              <a:buNone/>
              <a:tabLst/>
              <a:defRPr sz="10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Subtitle 2">
            <a:extLst>
              <a:ext uri="{FF2B5EF4-FFF2-40B4-BE49-F238E27FC236}">
                <a16:creationId xmlns:a16="http://schemas.microsoft.com/office/drawing/2014/main" id="{0C5285A1-A45A-F127-C72A-03975CAA199D}"/>
              </a:ext>
            </a:extLst>
          </p:cNvPr>
          <p:cNvSpPr>
            <a:spLocks noGrp="1"/>
          </p:cNvSpPr>
          <p:nvPr>
            <p:ph type="subTitle" idx="13" hasCustomPrompt="1"/>
          </p:nvPr>
        </p:nvSpPr>
        <p:spPr>
          <a:xfrm rot="725262">
            <a:off x="9389121" y="356660"/>
            <a:ext cx="2293184" cy="771949"/>
          </a:xfrm>
          <a:solidFill>
            <a:schemeClr val="accent3"/>
          </a:solidFill>
        </p:spPr>
        <p:txBody>
          <a:bodyPr tIns="0" bIns="0" anchor="ctr" anchorCtr="0">
            <a:noAutofit/>
          </a:bodyPr>
          <a:lstStyle>
            <a:lvl1pPr marL="0" indent="0" algn="ctr" fontAlgn="ctr">
              <a:lnSpc>
                <a:spcPct val="100000"/>
              </a:lnSpc>
              <a:spcBef>
                <a:spcPts val="0"/>
              </a:spcBef>
              <a:buNone/>
              <a:defRPr sz="3600" b="0">
                <a:solidFill>
                  <a:schemeClr val="bg1"/>
                </a:solidFill>
                <a:latin typeface="Montserrat SemiBold" panose="000007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ticker</a:t>
            </a:r>
            <a:endParaRPr lang="en-US" dirty="0"/>
          </a:p>
        </p:txBody>
      </p:sp>
    </p:spTree>
    <p:extLst>
      <p:ext uri="{BB962C8B-B14F-4D97-AF65-F5344CB8AC3E}">
        <p14:creationId xmlns:p14="http://schemas.microsoft.com/office/powerpoint/2010/main" val="2810563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7823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in Content : Title + Dual Visual Data">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FDD66AF7-F6A9-AC40-9D50-9BAAC73B385D}"/>
              </a:ext>
            </a:extLst>
          </p:cNvPr>
          <p:cNvSpPr>
            <a:spLocks noGrp="1"/>
          </p:cNvSpPr>
          <p:nvPr>
            <p:ph sz="quarter" idx="13"/>
          </p:nvPr>
        </p:nvSpPr>
        <p:spPr>
          <a:xfrm>
            <a:off x="742951" y="1885950"/>
            <a:ext cx="5100637" cy="40719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7">
            <a:extLst>
              <a:ext uri="{FF2B5EF4-FFF2-40B4-BE49-F238E27FC236}">
                <a16:creationId xmlns:a16="http://schemas.microsoft.com/office/drawing/2014/main" id="{AD4D50A4-B734-AD41-8654-79DC681E4E1B}"/>
              </a:ext>
            </a:extLst>
          </p:cNvPr>
          <p:cNvSpPr>
            <a:spLocks noGrp="1"/>
          </p:cNvSpPr>
          <p:nvPr>
            <p:ph sz="quarter" idx="14"/>
          </p:nvPr>
        </p:nvSpPr>
        <p:spPr>
          <a:xfrm>
            <a:off x="6157913" y="1885950"/>
            <a:ext cx="5372100" cy="40719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0">
            <a:extLst>
              <a:ext uri="{FF2B5EF4-FFF2-40B4-BE49-F238E27FC236}">
                <a16:creationId xmlns:a16="http://schemas.microsoft.com/office/drawing/2014/main" id="{9ECF72A8-B638-3842-8B60-7DFC3C6C0C79}"/>
              </a:ext>
            </a:extLst>
          </p:cNvPr>
          <p:cNvSpPr>
            <a:spLocks noGrp="1"/>
          </p:cNvSpPr>
          <p:nvPr>
            <p:ph type="title" hasCustomPrompt="1"/>
          </p:nvPr>
        </p:nvSpPr>
        <p:spPr>
          <a:xfrm>
            <a:off x="757990" y="798263"/>
            <a:ext cx="10728157" cy="725738"/>
          </a:xfrm>
          <a:prstGeom prst="rect">
            <a:avLst/>
          </a:prstGeom>
        </p:spPr>
        <p:txBody>
          <a:bodyPr/>
          <a:lstStyle>
            <a:lvl1pPr>
              <a:defRPr sz="3200" b="1">
                <a:solidFill>
                  <a:srgbClr val="3679FC"/>
                </a:solidFill>
                <a:latin typeface="+mn-lt"/>
              </a:defRPr>
            </a:lvl1pPr>
          </a:lstStyle>
          <a:p>
            <a:r>
              <a:rPr lang="en-US" dirty="0"/>
              <a:t>CLICK TO EDIT MASTER TITLE STYLE</a:t>
            </a:r>
          </a:p>
        </p:txBody>
      </p:sp>
    </p:spTree>
    <p:extLst>
      <p:ext uri="{BB962C8B-B14F-4D97-AF65-F5344CB8AC3E}">
        <p14:creationId xmlns:p14="http://schemas.microsoft.com/office/powerpoint/2010/main" val="260273210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ext Blank Stick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3C01E-65EF-8F1D-9238-40AC8964998F}"/>
              </a:ext>
            </a:extLst>
          </p:cNvPr>
          <p:cNvSpPr>
            <a:spLocks noGrp="1"/>
          </p:cNvSpPr>
          <p:nvPr>
            <p:ph type="title"/>
          </p:nvPr>
        </p:nvSpPr>
        <p:spPr/>
        <p:txBody>
          <a:bodyPr/>
          <a:lstStyle>
            <a:lvl1pPr>
              <a:defRPr b="0" i="0">
                <a:latin typeface="+mj-lt"/>
              </a:defRPr>
            </a:lvl1pPr>
          </a:lstStyle>
          <a:p>
            <a:r>
              <a:rPr lang="de-DE"/>
              <a:t>Mastertitelformat bearbeiten</a:t>
            </a:r>
            <a:endParaRPr lang="en-US"/>
          </a:p>
        </p:txBody>
      </p:sp>
      <p:sp>
        <p:nvSpPr>
          <p:cNvPr id="5" name="Footer Placeholder 4">
            <a:extLst>
              <a:ext uri="{FF2B5EF4-FFF2-40B4-BE49-F238E27FC236}">
                <a16:creationId xmlns:a16="http://schemas.microsoft.com/office/drawing/2014/main" id="{392D2AC5-7411-A3E8-8E2A-541F214988A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28D2436-6667-2CBB-7286-D61530464441}"/>
              </a:ext>
            </a:extLst>
          </p:cNvPr>
          <p:cNvSpPr>
            <a:spLocks noGrp="1"/>
          </p:cNvSpPr>
          <p:nvPr>
            <p:ph type="sldNum" sz="quarter" idx="12"/>
          </p:nvPr>
        </p:nvSpPr>
        <p:spPr/>
        <p:txBody>
          <a:bodyPr/>
          <a:lstStyle/>
          <a:p>
            <a:endParaRPr lang="en-US" dirty="0"/>
          </a:p>
        </p:txBody>
      </p:sp>
      <p:sp>
        <p:nvSpPr>
          <p:cNvPr id="4" name="Subtitle 2">
            <a:extLst>
              <a:ext uri="{FF2B5EF4-FFF2-40B4-BE49-F238E27FC236}">
                <a16:creationId xmlns:a16="http://schemas.microsoft.com/office/drawing/2014/main" id="{C70744FC-7B7B-C654-BA9B-08940DE7840F}"/>
              </a:ext>
            </a:extLst>
          </p:cNvPr>
          <p:cNvSpPr>
            <a:spLocks noGrp="1"/>
          </p:cNvSpPr>
          <p:nvPr>
            <p:ph type="subTitle" idx="1" hasCustomPrompt="1"/>
          </p:nvPr>
        </p:nvSpPr>
        <p:spPr>
          <a:xfrm rot="21420000">
            <a:off x="9175346" y="408537"/>
            <a:ext cx="2525906" cy="677296"/>
          </a:xfrm>
          <a:solidFill>
            <a:schemeClr val="accent5"/>
          </a:solidFill>
        </p:spPr>
        <p:txBody>
          <a:bodyPr tIns="0" bIns="0" anchor="ctr" anchorCtr="0">
            <a:noAutofit/>
          </a:bodyPr>
          <a:lstStyle>
            <a:lvl1pPr marL="0" indent="0" algn="ctr" fontAlgn="ctr">
              <a:lnSpc>
                <a:spcPct val="100000"/>
              </a:lnSpc>
              <a:spcBef>
                <a:spcPts val="0"/>
              </a:spcBef>
              <a:buNone/>
              <a:defRPr sz="36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ticker</a:t>
            </a:r>
            <a:endParaRPr lang="en-US"/>
          </a:p>
        </p:txBody>
      </p:sp>
    </p:spTree>
    <p:extLst>
      <p:ext uri="{BB962C8B-B14F-4D97-AF65-F5344CB8AC3E}">
        <p14:creationId xmlns:p14="http://schemas.microsoft.com/office/powerpoint/2010/main" val="20651102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54810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ext Blank Stick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3C01E-65EF-8F1D-9238-40AC8964998F}"/>
              </a:ext>
            </a:extLst>
          </p:cNvPr>
          <p:cNvSpPr>
            <a:spLocks noGrp="1"/>
          </p:cNvSpPr>
          <p:nvPr>
            <p:ph type="title"/>
          </p:nvPr>
        </p:nvSpPr>
        <p:spPr/>
        <p:txBody>
          <a:bodyPr/>
          <a:lstStyle>
            <a:lvl1pPr>
              <a:defRPr b="0" i="0">
                <a:latin typeface="+mj-lt"/>
              </a:defRPr>
            </a:lvl1pPr>
          </a:lstStyle>
          <a:p>
            <a:r>
              <a:rPr lang="de-DE"/>
              <a:t>Mastertitelformat bearbeiten</a:t>
            </a:r>
            <a:endParaRPr lang="en-US"/>
          </a:p>
        </p:txBody>
      </p:sp>
      <p:sp>
        <p:nvSpPr>
          <p:cNvPr id="5" name="Footer Placeholder 4">
            <a:extLst>
              <a:ext uri="{FF2B5EF4-FFF2-40B4-BE49-F238E27FC236}">
                <a16:creationId xmlns:a16="http://schemas.microsoft.com/office/drawing/2014/main" id="{392D2AC5-7411-A3E8-8E2A-541F214988AB}"/>
              </a:ext>
            </a:extLst>
          </p:cNvPr>
          <p:cNvSpPr>
            <a:spLocks noGrp="1"/>
          </p:cNvSpPr>
          <p:nvPr>
            <p:ph type="ftr" sz="quarter" idx="11"/>
          </p:nvPr>
        </p:nvSpPr>
        <p:spPr/>
        <p:txBody>
          <a:bodyPr/>
          <a:lstStyle/>
          <a:p>
            <a:r>
              <a:rPr lang="en-US"/>
              <a:t>Presentation Title</a:t>
            </a:r>
          </a:p>
        </p:txBody>
      </p:sp>
      <p:sp>
        <p:nvSpPr>
          <p:cNvPr id="6" name="Slide Number Placeholder 5">
            <a:extLst>
              <a:ext uri="{FF2B5EF4-FFF2-40B4-BE49-F238E27FC236}">
                <a16:creationId xmlns:a16="http://schemas.microsoft.com/office/drawing/2014/main" id="{628D2436-6667-2CBB-7286-D61530464441}"/>
              </a:ext>
            </a:extLst>
          </p:cNvPr>
          <p:cNvSpPr>
            <a:spLocks noGrp="1"/>
          </p:cNvSpPr>
          <p:nvPr>
            <p:ph type="sldNum" sz="quarter" idx="12"/>
          </p:nvPr>
        </p:nvSpPr>
        <p:spPr/>
        <p:txBody>
          <a:bodyPr/>
          <a:lstStyle/>
          <a:p>
            <a:fld id="{38A2B098-C640-ED48-8BF9-C82891310785}" type="slidenum">
              <a:rPr lang="en-US" smtClean="0"/>
              <a:t>‹#›</a:t>
            </a:fld>
            <a:endParaRPr lang="en-US"/>
          </a:p>
        </p:txBody>
      </p:sp>
      <p:sp>
        <p:nvSpPr>
          <p:cNvPr id="3" name="Subtitle 2">
            <a:extLst>
              <a:ext uri="{FF2B5EF4-FFF2-40B4-BE49-F238E27FC236}">
                <a16:creationId xmlns:a16="http://schemas.microsoft.com/office/drawing/2014/main" id="{30769DD8-FF11-7C01-8FBD-937D8C815432}"/>
              </a:ext>
            </a:extLst>
          </p:cNvPr>
          <p:cNvSpPr>
            <a:spLocks noGrp="1"/>
          </p:cNvSpPr>
          <p:nvPr>
            <p:ph type="subTitle" idx="18" hasCustomPrompt="1"/>
          </p:nvPr>
        </p:nvSpPr>
        <p:spPr>
          <a:xfrm rot="21420000">
            <a:off x="602770" y="1181627"/>
            <a:ext cx="2133502" cy="644177"/>
          </a:xfrm>
          <a:solidFill>
            <a:schemeClr val="accent5"/>
          </a:solidFill>
        </p:spPr>
        <p:txBody>
          <a:bodyPr tIns="0" bIns="0" anchor="ctr" anchorCtr="0">
            <a:noAutofit/>
          </a:bodyPr>
          <a:lstStyle>
            <a:lvl1pPr marL="0" indent="0" algn="ctr" fontAlgn="ctr">
              <a:lnSpc>
                <a:spcPct val="100000"/>
              </a:lnSpc>
              <a:spcBef>
                <a:spcPts val="0"/>
              </a:spcBef>
              <a:buNone/>
              <a:defRPr sz="36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ticker</a:t>
            </a:r>
            <a:endParaRPr lang="en-US"/>
          </a:p>
        </p:txBody>
      </p:sp>
    </p:spTree>
    <p:extLst>
      <p:ext uri="{BB962C8B-B14F-4D97-AF65-F5344CB8AC3E}">
        <p14:creationId xmlns:p14="http://schemas.microsoft.com/office/powerpoint/2010/main" val="282121808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Title only 1">
  <p:cSld name="Title only 1">
    <p:spTree>
      <p:nvGrpSpPr>
        <p:cNvPr id="1" name="Shape 95"/>
        <p:cNvGrpSpPr/>
        <p:nvPr/>
      </p:nvGrpSpPr>
      <p:grpSpPr>
        <a:xfrm>
          <a:off x="0" y="0"/>
          <a:ext cx="0" cy="0"/>
          <a:chOff x="0" y="0"/>
          <a:chExt cx="0" cy="0"/>
        </a:xfrm>
      </p:grpSpPr>
      <p:sp>
        <p:nvSpPr>
          <p:cNvPr id="96" name="Google Shape;96;p18"/>
          <p:cNvSpPr/>
          <p:nvPr/>
        </p:nvSpPr>
        <p:spPr>
          <a:xfrm rot="-5400000">
            <a:off x="5712400" y="-5760516"/>
            <a:ext cx="774000" cy="12198800"/>
          </a:xfrm>
          <a:prstGeom prst="rect">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97" name="Google Shape;97;p18"/>
          <p:cNvSpPr txBox="1">
            <a:spLocks noGrp="1"/>
          </p:cNvSpPr>
          <p:nvPr>
            <p:ph type="title"/>
          </p:nvPr>
        </p:nvSpPr>
        <p:spPr>
          <a:xfrm>
            <a:off x="950967" y="1158233"/>
            <a:ext cx="10290000" cy="7280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100"/>
              <a:buFont typeface="Montserrat"/>
              <a:buNone/>
              <a:defRPr sz="3333" b="1">
                <a:latin typeface="Playfair Display"/>
                <a:ea typeface="Playfair Display"/>
                <a:cs typeface="Playfair Display"/>
                <a:sym typeface="Playfair Display"/>
              </a:defRPr>
            </a:lvl1pPr>
            <a:lvl2pPr lvl="1" algn="ctr" rtl="0">
              <a:spcBef>
                <a:spcPts val="0"/>
              </a:spcBef>
              <a:spcAft>
                <a:spcPts val="0"/>
              </a:spcAft>
              <a:buSzPts val="2100"/>
              <a:buFont typeface="Montserrat"/>
              <a:buNone/>
              <a:defRPr sz="2800" b="1">
                <a:latin typeface="Montserrat"/>
                <a:ea typeface="Montserrat"/>
                <a:cs typeface="Montserrat"/>
                <a:sym typeface="Montserrat"/>
              </a:defRPr>
            </a:lvl2pPr>
            <a:lvl3pPr lvl="2" algn="ctr" rtl="0">
              <a:spcBef>
                <a:spcPts val="0"/>
              </a:spcBef>
              <a:spcAft>
                <a:spcPts val="0"/>
              </a:spcAft>
              <a:buSzPts val="2100"/>
              <a:buFont typeface="Montserrat"/>
              <a:buNone/>
              <a:defRPr sz="2800" b="1">
                <a:latin typeface="Montserrat"/>
                <a:ea typeface="Montserrat"/>
                <a:cs typeface="Montserrat"/>
                <a:sym typeface="Montserrat"/>
              </a:defRPr>
            </a:lvl3pPr>
            <a:lvl4pPr lvl="3" algn="ctr" rtl="0">
              <a:spcBef>
                <a:spcPts val="0"/>
              </a:spcBef>
              <a:spcAft>
                <a:spcPts val="0"/>
              </a:spcAft>
              <a:buSzPts val="2100"/>
              <a:buFont typeface="Montserrat"/>
              <a:buNone/>
              <a:defRPr sz="2800" b="1">
                <a:latin typeface="Montserrat"/>
                <a:ea typeface="Montserrat"/>
                <a:cs typeface="Montserrat"/>
                <a:sym typeface="Montserrat"/>
              </a:defRPr>
            </a:lvl4pPr>
            <a:lvl5pPr lvl="4" algn="ctr" rtl="0">
              <a:spcBef>
                <a:spcPts val="0"/>
              </a:spcBef>
              <a:spcAft>
                <a:spcPts val="0"/>
              </a:spcAft>
              <a:buSzPts val="2100"/>
              <a:buFont typeface="Montserrat"/>
              <a:buNone/>
              <a:defRPr sz="2800" b="1">
                <a:latin typeface="Montserrat"/>
                <a:ea typeface="Montserrat"/>
                <a:cs typeface="Montserrat"/>
                <a:sym typeface="Montserrat"/>
              </a:defRPr>
            </a:lvl5pPr>
            <a:lvl6pPr lvl="5" algn="ctr" rtl="0">
              <a:spcBef>
                <a:spcPts val="0"/>
              </a:spcBef>
              <a:spcAft>
                <a:spcPts val="0"/>
              </a:spcAft>
              <a:buSzPts val="2100"/>
              <a:buFont typeface="Montserrat"/>
              <a:buNone/>
              <a:defRPr sz="2800" b="1">
                <a:latin typeface="Montserrat"/>
                <a:ea typeface="Montserrat"/>
                <a:cs typeface="Montserrat"/>
                <a:sym typeface="Montserrat"/>
              </a:defRPr>
            </a:lvl6pPr>
            <a:lvl7pPr lvl="6" algn="ctr" rtl="0">
              <a:spcBef>
                <a:spcPts val="0"/>
              </a:spcBef>
              <a:spcAft>
                <a:spcPts val="0"/>
              </a:spcAft>
              <a:buSzPts val="2100"/>
              <a:buFont typeface="Montserrat"/>
              <a:buNone/>
              <a:defRPr sz="2800" b="1">
                <a:latin typeface="Montserrat"/>
                <a:ea typeface="Montserrat"/>
                <a:cs typeface="Montserrat"/>
                <a:sym typeface="Montserrat"/>
              </a:defRPr>
            </a:lvl7pPr>
            <a:lvl8pPr lvl="7" algn="ctr" rtl="0">
              <a:spcBef>
                <a:spcPts val="0"/>
              </a:spcBef>
              <a:spcAft>
                <a:spcPts val="0"/>
              </a:spcAft>
              <a:buSzPts val="2100"/>
              <a:buFont typeface="Montserrat"/>
              <a:buNone/>
              <a:defRPr sz="2800" b="1">
                <a:latin typeface="Montserrat"/>
                <a:ea typeface="Montserrat"/>
                <a:cs typeface="Montserrat"/>
                <a:sym typeface="Montserrat"/>
              </a:defRPr>
            </a:lvl8pPr>
            <a:lvl9pPr lvl="8" algn="ctr" rtl="0">
              <a:spcBef>
                <a:spcPts val="0"/>
              </a:spcBef>
              <a:spcAft>
                <a:spcPts val="0"/>
              </a:spcAft>
              <a:buSzPts val="2100"/>
              <a:buFont typeface="Montserrat"/>
              <a:buNone/>
              <a:defRPr sz="2800" b="1">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30355482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ction Break Slide">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091E24DE-EFB1-0B46-A1A5-D4A0F86E2C80}"/>
              </a:ext>
            </a:extLst>
          </p:cNvPr>
          <p:cNvSpPr>
            <a:spLocks noGrp="1"/>
          </p:cNvSpPr>
          <p:nvPr>
            <p:ph type="body" sz="quarter" idx="10" hasCustomPrompt="1"/>
          </p:nvPr>
        </p:nvSpPr>
        <p:spPr>
          <a:xfrm>
            <a:off x="737938" y="1628799"/>
            <a:ext cx="10764252" cy="3857601"/>
          </a:xfrm>
          <a:prstGeom prst="rect">
            <a:avLst/>
          </a:prstGeom>
        </p:spPr>
        <p:txBody>
          <a:bodyPr/>
          <a:lstStyle>
            <a:lvl1pPr marL="0" indent="0">
              <a:buNone/>
              <a:defRPr sz="4800" b="1">
                <a:solidFill>
                  <a:srgbClr val="3679FC"/>
                </a:solidFill>
              </a:defRPr>
            </a:lvl1pPr>
            <a:lvl2pPr>
              <a:defRPr>
                <a:solidFill>
                  <a:srgbClr val="00E2FF"/>
                </a:solidFill>
              </a:defRPr>
            </a:lvl2pPr>
            <a:lvl3pPr>
              <a:defRPr>
                <a:solidFill>
                  <a:srgbClr val="00E2FF"/>
                </a:solidFill>
              </a:defRPr>
            </a:lvl3pPr>
            <a:lvl4pPr>
              <a:defRPr>
                <a:solidFill>
                  <a:srgbClr val="00E2FF"/>
                </a:solidFill>
              </a:defRPr>
            </a:lvl4pPr>
            <a:lvl5pPr>
              <a:defRPr>
                <a:solidFill>
                  <a:srgbClr val="00E2FF"/>
                </a:solidFill>
              </a:defRPr>
            </a:lvl5pPr>
          </a:lstStyle>
          <a:p>
            <a:pPr lvl="0"/>
            <a:r>
              <a:rPr lang="en-US" dirty="0"/>
              <a:t>Section title</a:t>
            </a:r>
          </a:p>
        </p:txBody>
      </p:sp>
    </p:spTree>
    <p:extLst>
      <p:ext uri="{BB962C8B-B14F-4D97-AF65-F5344CB8AC3E}">
        <p14:creationId xmlns:p14="http://schemas.microsoft.com/office/powerpoint/2010/main" val="41118683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lIns="91440" tIns="45720" rIns="91440" bIns="45720" rtlCol="0" anchor="t">
            <a:noAutofit/>
          </a:bodyPr>
          <a:lstStyle>
            <a:lvl1pPr algn="l">
              <a:defRPr lang="en-US" dirty="0"/>
            </a:lvl1pPr>
          </a:lstStyle>
          <a:p>
            <a:pPr lvl="0">
              <a:lnSpc>
                <a:spcPct val="100000"/>
              </a:lnSpc>
              <a:spcBef>
                <a:spcPts val="0"/>
              </a:spcBef>
              <a:spcAft>
                <a:spcPts val="0"/>
              </a:spcAft>
            </a:pPr>
            <a:r>
              <a:rPr lang="en-US"/>
              <a:t>Click to add tit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864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lIns="91440" tIns="45720" rIns="91440" bIns="45720" rtlCol="0" anchor="t">
            <a:noAutofit/>
          </a:bodyPr>
          <a:lstStyle>
            <a:lvl1pPr algn="l">
              <a:defRPr lang="en-US" dirty="0"/>
            </a:lvl1pPr>
          </a:lstStyle>
          <a:p>
            <a:pPr lvl="0">
              <a:lnSpc>
                <a:spcPct val="100000"/>
              </a:lnSpc>
              <a:spcBef>
                <a:spcPts val="0"/>
              </a:spcBef>
              <a:spcAft>
                <a:spcPts val="0"/>
              </a:spcAft>
            </a:pPr>
            <a:r>
              <a:rPr lang="en-US"/>
              <a:t>Click to add title</a:t>
            </a:r>
          </a:p>
        </p:txBody>
      </p:sp>
    </p:spTree>
    <p:extLst>
      <p:ext uri="{BB962C8B-B14F-4D97-AF65-F5344CB8AC3E}">
        <p14:creationId xmlns:p14="http://schemas.microsoft.com/office/powerpoint/2010/main" val="3669833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rk Content (White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59064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570" t="3570" r="3570" b="828"/>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4143516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4120429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23630945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1894088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Break Slide">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091E24DE-EFB1-0B46-A1A5-D4A0F86E2C80}"/>
              </a:ext>
            </a:extLst>
          </p:cNvPr>
          <p:cNvSpPr>
            <a:spLocks noGrp="1"/>
          </p:cNvSpPr>
          <p:nvPr>
            <p:ph type="body" sz="quarter" idx="10" hasCustomPrompt="1"/>
          </p:nvPr>
        </p:nvSpPr>
        <p:spPr>
          <a:xfrm>
            <a:off x="737938" y="1628799"/>
            <a:ext cx="10764252" cy="3857601"/>
          </a:xfrm>
          <a:prstGeom prst="rect">
            <a:avLst/>
          </a:prstGeom>
        </p:spPr>
        <p:txBody>
          <a:bodyPr/>
          <a:lstStyle>
            <a:lvl1pPr marL="0" indent="0">
              <a:buNone/>
              <a:defRPr sz="4800" b="1">
                <a:solidFill>
                  <a:srgbClr val="3679FC"/>
                </a:solidFill>
              </a:defRPr>
            </a:lvl1pPr>
            <a:lvl2pPr>
              <a:defRPr>
                <a:solidFill>
                  <a:srgbClr val="00E2FF"/>
                </a:solidFill>
              </a:defRPr>
            </a:lvl2pPr>
            <a:lvl3pPr>
              <a:defRPr>
                <a:solidFill>
                  <a:srgbClr val="00E2FF"/>
                </a:solidFill>
              </a:defRPr>
            </a:lvl3pPr>
            <a:lvl4pPr>
              <a:defRPr>
                <a:solidFill>
                  <a:srgbClr val="00E2FF"/>
                </a:solidFill>
              </a:defRPr>
            </a:lvl4pPr>
            <a:lvl5pPr>
              <a:defRPr>
                <a:solidFill>
                  <a:srgbClr val="00E2FF"/>
                </a:solidFill>
              </a:defRPr>
            </a:lvl5pPr>
          </a:lstStyle>
          <a:p>
            <a:pPr lvl="0"/>
            <a:r>
              <a:rPr lang="en-US" dirty="0"/>
              <a:t>Section title</a:t>
            </a:r>
          </a:p>
        </p:txBody>
      </p:sp>
    </p:spTree>
    <p:extLst>
      <p:ext uri="{BB962C8B-B14F-4D97-AF65-F5344CB8AC3E}">
        <p14:creationId xmlns:p14="http://schemas.microsoft.com/office/powerpoint/2010/main" val="11315392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ltGray">
          <a:xfrm>
            <a:off x="5852811" y="266700"/>
            <a:ext cx="6324600" cy="6324600"/>
          </a:xfrm>
          <a:prstGeom prst="rect">
            <a:avLst/>
          </a:prstGeom>
        </p:spPr>
      </p:pic>
    </p:spTree>
    <p:extLst>
      <p:ext uri="{BB962C8B-B14F-4D97-AF65-F5344CB8AC3E}">
        <p14:creationId xmlns:p14="http://schemas.microsoft.com/office/powerpoint/2010/main" val="1366591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spTree>
    <p:extLst>
      <p:ext uri="{BB962C8B-B14F-4D97-AF65-F5344CB8AC3E}">
        <p14:creationId xmlns:p14="http://schemas.microsoft.com/office/powerpoint/2010/main" val="2144822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spTree>
    <p:extLst>
      <p:ext uri="{BB962C8B-B14F-4D97-AF65-F5344CB8AC3E}">
        <p14:creationId xmlns:p14="http://schemas.microsoft.com/office/powerpoint/2010/main" val="1009728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25592627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3153833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Picture 5" descr="A black and white sign&#10;&#10;Description automatically generated with low confidence">
            <a:extLst>
              <a:ext uri="{FF2B5EF4-FFF2-40B4-BE49-F238E27FC236}">
                <a16:creationId xmlns:a16="http://schemas.microsoft.com/office/drawing/2014/main" id="{91633131-4F61-09D9-1DF4-B8827D00A6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2042" y="581027"/>
            <a:ext cx="1378804" cy="295064"/>
          </a:xfrm>
          <a:prstGeom prst="rect">
            <a:avLst/>
          </a:prstGeom>
        </p:spPr>
      </p:pic>
    </p:spTree>
    <p:extLst>
      <p:ext uri="{BB962C8B-B14F-4D97-AF65-F5344CB8AC3E}">
        <p14:creationId xmlns:p14="http://schemas.microsoft.com/office/powerpoint/2010/main" val="1375691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43814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036707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03684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69258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Content : Title + Text Bo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7A50152-6AF0-CB4C-8223-B92B04D86F3A}"/>
              </a:ext>
            </a:extLst>
          </p:cNvPr>
          <p:cNvSpPr>
            <a:spLocks noGrp="1"/>
          </p:cNvSpPr>
          <p:nvPr>
            <p:ph type="title" hasCustomPrompt="1"/>
          </p:nvPr>
        </p:nvSpPr>
        <p:spPr>
          <a:xfrm>
            <a:off x="757990" y="798263"/>
            <a:ext cx="10728157" cy="725738"/>
          </a:xfrm>
          <a:prstGeom prst="rect">
            <a:avLst/>
          </a:prstGeom>
        </p:spPr>
        <p:txBody>
          <a:bodyPr/>
          <a:lstStyle>
            <a:lvl1pPr>
              <a:defRPr sz="3200" b="1">
                <a:solidFill>
                  <a:srgbClr val="3679FC"/>
                </a:solidFill>
                <a:latin typeface="+mn-lt"/>
              </a:defRPr>
            </a:lvl1pPr>
          </a:lstStyle>
          <a:p>
            <a:r>
              <a:rPr lang="en-US" dirty="0"/>
              <a:t>CLICK TO EDIT MASTER TITLE STYLE</a:t>
            </a:r>
          </a:p>
        </p:txBody>
      </p:sp>
      <p:sp>
        <p:nvSpPr>
          <p:cNvPr id="13" name="Text Placeholder 12">
            <a:extLst>
              <a:ext uri="{FF2B5EF4-FFF2-40B4-BE49-F238E27FC236}">
                <a16:creationId xmlns:a16="http://schemas.microsoft.com/office/drawing/2014/main" id="{C1E510EF-336A-D249-A32C-A6F043A3B560}"/>
              </a:ext>
            </a:extLst>
          </p:cNvPr>
          <p:cNvSpPr>
            <a:spLocks noGrp="1"/>
          </p:cNvSpPr>
          <p:nvPr>
            <p:ph type="body" sz="quarter" idx="11"/>
          </p:nvPr>
        </p:nvSpPr>
        <p:spPr>
          <a:xfrm>
            <a:off x="738188" y="1700213"/>
            <a:ext cx="10747375" cy="4235450"/>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73235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36393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27803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0165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25705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517884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534206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87569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67988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74B426E-6B8A-3A28-C1F9-08B57628A60D}"/>
              </a:ext>
            </a:extLst>
          </p:cNvPr>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2" name="Picture 1">
            <a:extLst>
              <a:ext uri="{FF2B5EF4-FFF2-40B4-BE49-F238E27FC236}">
                <a16:creationId xmlns:a16="http://schemas.microsoft.com/office/drawing/2014/main" id="{765EF02F-7BE6-3669-FA15-597CA5FB0767}"/>
              </a:ext>
            </a:extLst>
          </p:cNvPr>
          <p:cNvPicPr>
            <a:picLocks noChangeAspect="1"/>
          </p:cNvPicPr>
          <p:nvPr userDrawn="1"/>
        </p:nvPicPr>
        <p:blipFill>
          <a:blip r:embed="rId2"/>
          <a:stretch>
            <a:fillRect/>
          </a:stretch>
        </p:blipFill>
        <p:spPr>
          <a:xfrm>
            <a:off x="555604" y="652306"/>
            <a:ext cx="3189082" cy="304528"/>
          </a:xfrm>
          <a:prstGeom prst="rect">
            <a:avLst/>
          </a:prstGeom>
        </p:spPr>
      </p:pic>
    </p:spTree>
    <p:extLst>
      <p:ext uri="{BB962C8B-B14F-4D97-AF65-F5344CB8AC3E}">
        <p14:creationId xmlns:p14="http://schemas.microsoft.com/office/powerpoint/2010/main" val="42633689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8499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Main Content : Title + Text Bo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7A50152-6AF0-CB4C-8223-B92B04D86F3A}"/>
              </a:ext>
            </a:extLst>
          </p:cNvPr>
          <p:cNvSpPr>
            <a:spLocks noGrp="1"/>
          </p:cNvSpPr>
          <p:nvPr>
            <p:ph type="title" hasCustomPrompt="1"/>
          </p:nvPr>
        </p:nvSpPr>
        <p:spPr>
          <a:xfrm>
            <a:off x="757990" y="798263"/>
            <a:ext cx="10728157" cy="725738"/>
          </a:xfrm>
          <a:prstGeom prst="rect">
            <a:avLst/>
          </a:prstGeom>
        </p:spPr>
        <p:txBody>
          <a:bodyPr/>
          <a:lstStyle>
            <a:lvl1pPr>
              <a:defRPr sz="3200" b="1">
                <a:solidFill>
                  <a:srgbClr val="3679FC"/>
                </a:solidFill>
                <a:latin typeface="+mn-lt"/>
              </a:defRPr>
            </a:lvl1pPr>
          </a:lstStyle>
          <a:p>
            <a:r>
              <a:rPr lang="en-US" dirty="0"/>
              <a:t>CLICK TO EDIT MASTER TITLE STYLE</a:t>
            </a:r>
          </a:p>
        </p:txBody>
      </p:sp>
      <p:sp>
        <p:nvSpPr>
          <p:cNvPr id="13" name="Text Placeholder 12">
            <a:extLst>
              <a:ext uri="{FF2B5EF4-FFF2-40B4-BE49-F238E27FC236}">
                <a16:creationId xmlns:a16="http://schemas.microsoft.com/office/drawing/2014/main" id="{C1E510EF-336A-D249-A32C-A6F043A3B560}"/>
              </a:ext>
            </a:extLst>
          </p:cNvPr>
          <p:cNvSpPr>
            <a:spLocks noGrp="1"/>
          </p:cNvSpPr>
          <p:nvPr>
            <p:ph type="body" sz="quarter" idx="11"/>
          </p:nvPr>
        </p:nvSpPr>
        <p:spPr>
          <a:xfrm>
            <a:off x="738188" y="1700213"/>
            <a:ext cx="10747375" cy="4235450"/>
          </a:xfrm>
          <a:prstGeom prst="rect">
            <a:avLst/>
          </a:prstGeom>
        </p:spPr>
        <p:txBody>
          <a:bodyPr/>
          <a:lstStyle>
            <a:lvl1pPr>
              <a:defRPr>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651598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01917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447784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7390627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88794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25709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862684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964865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012308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9737351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40466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 Content : Title + Dual Text Box">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7A50152-6AF0-CB4C-8223-B92B04D86F3A}"/>
              </a:ext>
            </a:extLst>
          </p:cNvPr>
          <p:cNvSpPr>
            <a:spLocks noGrp="1"/>
          </p:cNvSpPr>
          <p:nvPr>
            <p:ph type="title" hasCustomPrompt="1"/>
          </p:nvPr>
        </p:nvSpPr>
        <p:spPr>
          <a:xfrm>
            <a:off x="757990" y="798263"/>
            <a:ext cx="10728157" cy="725738"/>
          </a:xfrm>
          <a:prstGeom prst="rect">
            <a:avLst/>
          </a:prstGeom>
        </p:spPr>
        <p:txBody>
          <a:bodyPr/>
          <a:lstStyle>
            <a:lvl1pPr>
              <a:defRPr sz="3200" b="1">
                <a:solidFill>
                  <a:srgbClr val="3679FC"/>
                </a:solidFill>
                <a:latin typeface="+mn-lt"/>
              </a:defRPr>
            </a:lvl1pPr>
          </a:lstStyle>
          <a:p>
            <a:r>
              <a:rPr lang="en-US" dirty="0"/>
              <a:t>CLICK TO EDIT MASTER TITLE STYLE</a:t>
            </a:r>
          </a:p>
        </p:txBody>
      </p:sp>
      <p:sp>
        <p:nvSpPr>
          <p:cNvPr id="13" name="Text Placeholder 12">
            <a:extLst>
              <a:ext uri="{FF2B5EF4-FFF2-40B4-BE49-F238E27FC236}">
                <a16:creationId xmlns:a16="http://schemas.microsoft.com/office/drawing/2014/main" id="{C1E510EF-336A-D249-A32C-A6F043A3B560}"/>
              </a:ext>
            </a:extLst>
          </p:cNvPr>
          <p:cNvSpPr>
            <a:spLocks noGrp="1"/>
          </p:cNvSpPr>
          <p:nvPr>
            <p:ph type="body" sz="quarter" idx="11"/>
          </p:nvPr>
        </p:nvSpPr>
        <p:spPr>
          <a:xfrm>
            <a:off x="738188" y="1700213"/>
            <a:ext cx="5143128" cy="4235450"/>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12">
            <a:extLst>
              <a:ext uri="{FF2B5EF4-FFF2-40B4-BE49-F238E27FC236}">
                <a16:creationId xmlns:a16="http://schemas.microsoft.com/office/drawing/2014/main" id="{B4DB5CA4-F374-B64C-81F3-7E6BC9504177}"/>
              </a:ext>
            </a:extLst>
          </p:cNvPr>
          <p:cNvSpPr>
            <a:spLocks noGrp="1"/>
          </p:cNvSpPr>
          <p:nvPr>
            <p:ph type="body" sz="quarter" idx="12"/>
          </p:nvPr>
        </p:nvSpPr>
        <p:spPr>
          <a:xfrm>
            <a:off x="6372597" y="1700213"/>
            <a:ext cx="5143128" cy="4235450"/>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91751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44821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692451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3920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302721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01244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71134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91658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89467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46093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37187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ain Content - Dark BKG : Title + Dual Text Bo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7A50152-6AF0-CB4C-8223-B92B04D86F3A}"/>
              </a:ext>
            </a:extLst>
          </p:cNvPr>
          <p:cNvSpPr>
            <a:spLocks noGrp="1"/>
          </p:cNvSpPr>
          <p:nvPr>
            <p:ph type="title" hasCustomPrompt="1"/>
          </p:nvPr>
        </p:nvSpPr>
        <p:spPr>
          <a:xfrm>
            <a:off x="757990" y="798263"/>
            <a:ext cx="10728157" cy="725738"/>
          </a:xfrm>
          <a:prstGeom prst="rect">
            <a:avLst/>
          </a:prstGeom>
        </p:spPr>
        <p:txBody>
          <a:bodyPr/>
          <a:lstStyle>
            <a:lvl1pPr>
              <a:defRPr sz="3200" b="1">
                <a:solidFill>
                  <a:srgbClr val="3679FC"/>
                </a:solidFill>
                <a:latin typeface="+mn-lt"/>
              </a:defRPr>
            </a:lvl1pPr>
          </a:lstStyle>
          <a:p>
            <a:r>
              <a:rPr lang="en-US" dirty="0"/>
              <a:t>CLICK TO EDIT MASTER TITLE STYLE</a:t>
            </a:r>
          </a:p>
        </p:txBody>
      </p:sp>
      <p:sp>
        <p:nvSpPr>
          <p:cNvPr id="13" name="Text Placeholder 12">
            <a:extLst>
              <a:ext uri="{FF2B5EF4-FFF2-40B4-BE49-F238E27FC236}">
                <a16:creationId xmlns:a16="http://schemas.microsoft.com/office/drawing/2014/main" id="{C1E510EF-336A-D249-A32C-A6F043A3B560}"/>
              </a:ext>
            </a:extLst>
          </p:cNvPr>
          <p:cNvSpPr>
            <a:spLocks noGrp="1"/>
          </p:cNvSpPr>
          <p:nvPr>
            <p:ph type="body" sz="quarter" idx="11"/>
          </p:nvPr>
        </p:nvSpPr>
        <p:spPr>
          <a:xfrm>
            <a:off x="738188" y="1700213"/>
            <a:ext cx="5143128" cy="4235450"/>
          </a:xfrm>
          <a:prstGeom prst="rect">
            <a:avLst/>
          </a:prstGeom>
        </p:spPr>
        <p:txBody>
          <a:bodyPr/>
          <a:lstStyle>
            <a:lvl1pPr>
              <a:defRPr>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12">
            <a:extLst>
              <a:ext uri="{FF2B5EF4-FFF2-40B4-BE49-F238E27FC236}">
                <a16:creationId xmlns:a16="http://schemas.microsoft.com/office/drawing/2014/main" id="{B4DB5CA4-F374-B64C-81F3-7E6BC9504177}"/>
              </a:ext>
            </a:extLst>
          </p:cNvPr>
          <p:cNvSpPr>
            <a:spLocks noGrp="1"/>
          </p:cNvSpPr>
          <p:nvPr>
            <p:ph type="body" sz="quarter" idx="12"/>
          </p:nvPr>
        </p:nvSpPr>
        <p:spPr>
          <a:xfrm>
            <a:off x="6372597" y="1700213"/>
            <a:ext cx="5143128" cy="4235450"/>
          </a:xfrm>
          <a:prstGeom prst="rect">
            <a:avLst/>
          </a:prstGeom>
        </p:spPr>
        <p:txBody>
          <a:bodyPr/>
          <a:lstStyle>
            <a:lvl1pPr>
              <a:defRPr>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7059378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673957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4572492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0635407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126516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0076587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8307163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2855400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339894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39274177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145228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ain Content : Visual Data">
    <p:spTree>
      <p:nvGrpSpPr>
        <p:cNvPr id="1" name=""/>
        <p:cNvGrpSpPr/>
        <p:nvPr/>
      </p:nvGrpSpPr>
      <p:grpSpPr>
        <a:xfrm>
          <a:off x="0" y="0"/>
          <a:ext cx="0" cy="0"/>
          <a:chOff x="0" y="0"/>
          <a:chExt cx="0" cy="0"/>
        </a:xfrm>
      </p:grpSpPr>
      <p:sp>
        <p:nvSpPr>
          <p:cNvPr id="14" name="Content Placeholder 12">
            <a:extLst>
              <a:ext uri="{FF2B5EF4-FFF2-40B4-BE49-F238E27FC236}">
                <a16:creationId xmlns:a16="http://schemas.microsoft.com/office/drawing/2014/main" id="{2C0C7565-66F8-5E4F-BC70-B52629A037BD}"/>
              </a:ext>
            </a:extLst>
          </p:cNvPr>
          <p:cNvSpPr>
            <a:spLocks noGrp="1"/>
          </p:cNvSpPr>
          <p:nvPr>
            <p:ph sz="quarter" idx="12"/>
          </p:nvPr>
        </p:nvSpPr>
        <p:spPr>
          <a:xfrm>
            <a:off x="736600" y="736600"/>
            <a:ext cx="10793413" cy="51958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65987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24454141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92096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06110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43368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868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02629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62450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42776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161"/>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28780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2848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ain Content : Title + Visual Data">
    <p:spTree>
      <p:nvGrpSpPr>
        <p:cNvPr id="1" name=""/>
        <p:cNvGrpSpPr/>
        <p:nvPr/>
      </p:nvGrpSpPr>
      <p:grpSpPr>
        <a:xfrm>
          <a:off x="0" y="0"/>
          <a:ext cx="0" cy="0"/>
          <a:chOff x="0" y="0"/>
          <a:chExt cx="0" cy="0"/>
        </a:xfrm>
      </p:grpSpPr>
      <p:sp>
        <p:nvSpPr>
          <p:cNvPr id="6" name="Title 10">
            <a:extLst>
              <a:ext uri="{FF2B5EF4-FFF2-40B4-BE49-F238E27FC236}">
                <a16:creationId xmlns:a16="http://schemas.microsoft.com/office/drawing/2014/main" id="{A54FBFB0-DCDC-C848-901F-75B727D01B69}"/>
              </a:ext>
            </a:extLst>
          </p:cNvPr>
          <p:cNvSpPr>
            <a:spLocks noGrp="1"/>
          </p:cNvSpPr>
          <p:nvPr>
            <p:ph type="title" hasCustomPrompt="1"/>
          </p:nvPr>
        </p:nvSpPr>
        <p:spPr>
          <a:xfrm>
            <a:off x="757990" y="798262"/>
            <a:ext cx="5204111" cy="1046579"/>
          </a:xfrm>
          <a:prstGeom prst="rect">
            <a:avLst/>
          </a:prstGeom>
        </p:spPr>
        <p:txBody>
          <a:bodyPr/>
          <a:lstStyle>
            <a:lvl1pPr>
              <a:defRPr sz="3200" b="1">
                <a:solidFill>
                  <a:srgbClr val="3679FC"/>
                </a:solidFill>
                <a:latin typeface="+mn-lt"/>
              </a:defRPr>
            </a:lvl1pPr>
          </a:lstStyle>
          <a:p>
            <a:r>
              <a:rPr lang="en-US" dirty="0"/>
              <a:t>CLICK TO EDIT MASTER TITLE STYLE</a:t>
            </a:r>
          </a:p>
        </p:txBody>
      </p:sp>
      <p:sp>
        <p:nvSpPr>
          <p:cNvPr id="7" name="Text Placeholder 12">
            <a:extLst>
              <a:ext uri="{FF2B5EF4-FFF2-40B4-BE49-F238E27FC236}">
                <a16:creationId xmlns:a16="http://schemas.microsoft.com/office/drawing/2014/main" id="{E6537CD3-4D9A-184F-8D06-E1B8E2D9036C}"/>
              </a:ext>
            </a:extLst>
          </p:cNvPr>
          <p:cNvSpPr>
            <a:spLocks noGrp="1"/>
          </p:cNvSpPr>
          <p:nvPr>
            <p:ph type="body" sz="quarter" idx="12"/>
          </p:nvPr>
        </p:nvSpPr>
        <p:spPr>
          <a:xfrm>
            <a:off x="738188" y="2005263"/>
            <a:ext cx="5213433" cy="3930399"/>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7">
            <a:extLst>
              <a:ext uri="{FF2B5EF4-FFF2-40B4-BE49-F238E27FC236}">
                <a16:creationId xmlns:a16="http://schemas.microsoft.com/office/drawing/2014/main" id="{DC03047F-22E2-5B43-86A2-7583C9DB314F}"/>
              </a:ext>
            </a:extLst>
          </p:cNvPr>
          <p:cNvSpPr>
            <a:spLocks noGrp="1"/>
          </p:cNvSpPr>
          <p:nvPr>
            <p:ph sz="quarter" idx="13"/>
          </p:nvPr>
        </p:nvSpPr>
        <p:spPr>
          <a:xfrm>
            <a:off x="6157913" y="757238"/>
            <a:ext cx="5372100" cy="520065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54175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1657"/>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529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2070948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24736769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39291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65173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40297084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94690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37528495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167906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D0389-C490-40F0-BD5A-404D2AC6A0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66A3E2-5401-4D1B-B8BF-6906B73A2EF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D844F4-3CB3-4276-BC1D-5DD800F0F788}"/>
              </a:ext>
            </a:extLst>
          </p:cNvPr>
          <p:cNvSpPr>
            <a:spLocks noGrp="1"/>
          </p:cNvSpPr>
          <p:nvPr>
            <p:ph type="dt" sz="half" idx="10"/>
          </p:nvPr>
        </p:nvSpPr>
        <p:spPr/>
        <p:txBody>
          <a:bodyPr/>
          <a:lstStyle/>
          <a:p>
            <a:fld id="{F7F070FF-E1F5-4D9B-8506-355E74D171DA}" type="datetimeFigureOut">
              <a:rPr lang="en-US" smtClean="0"/>
              <a:t>6/15/2025</a:t>
            </a:fld>
            <a:endParaRPr lang="en-US"/>
          </a:p>
        </p:txBody>
      </p:sp>
      <p:sp>
        <p:nvSpPr>
          <p:cNvPr id="5" name="Footer Placeholder 4">
            <a:extLst>
              <a:ext uri="{FF2B5EF4-FFF2-40B4-BE49-F238E27FC236}">
                <a16:creationId xmlns:a16="http://schemas.microsoft.com/office/drawing/2014/main" id="{E25BE5F0-F83B-4A3C-9C77-73BCF01A92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4C77AE-C267-4671-A468-3A9854FB0932}"/>
              </a:ext>
            </a:extLst>
          </p:cNvPr>
          <p:cNvSpPr>
            <a:spLocks noGrp="1"/>
          </p:cNvSpPr>
          <p:nvPr>
            <p:ph type="sldNum" sz="quarter" idx="12"/>
          </p:nvPr>
        </p:nvSpPr>
        <p:spPr/>
        <p:txBody>
          <a:bodyPr/>
          <a:lstStyle/>
          <a:p>
            <a:fld id="{F0F6F502-30CE-4FD3-90F9-F01F8E39200F}" type="slidenum">
              <a:rPr lang="en-US" smtClean="0"/>
              <a:t>‹#›</a:t>
            </a:fld>
            <a:endParaRPr lang="en-US"/>
          </a:p>
        </p:txBody>
      </p:sp>
    </p:spTree>
    <p:extLst>
      <p:ext uri="{BB962C8B-B14F-4D97-AF65-F5344CB8AC3E}">
        <p14:creationId xmlns:p14="http://schemas.microsoft.com/office/powerpoint/2010/main" val="2085851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ain Content - Dark BKG : Title + Visual Dat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0">
            <a:extLst>
              <a:ext uri="{FF2B5EF4-FFF2-40B4-BE49-F238E27FC236}">
                <a16:creationId xmlns:a16="http://schemas.microsoft.com/office/drawing/2014/main" id="{A54FBFB0-DCDC-C848-901F-75B727D01B69}"/>
              </a:ext>
            </a:extLst>
          </p:cNvPr>
          <p:cNvSpPr>
            <a:spLocks noGrp="1"/>
          </p:cNvSpPr>
          <p:nvPr>
            <p:ph type="title" hasCustomPrompt="1"/>
          </p:nvPr>
        </p:nvSpPr>
        <p:spPr>
          <a:xfrm>
            <a:off x="757990" y="798262"/>
            <a:ext cx="5204111" cy="1046579"/>
          </a:xfrm>
          <a:prstGeom prst="rect">
            <a:avLst/>
          </a:prstGeom>
        </p:spPr>
        <p:txBody>
          <a:bodyPr/>
          <a:lstStyle>
            <a:lvl1pPr>
              <a:defRPr sz="3200" b="1">
                <a:solidFill>
                  <a:srgbClr val="3679FC"/>
                </a:solidFill>
                <a:latin typeface="+mn-lt"/>
              </a:defRPr>
            </a:lvl1pPr>
          </a:lstStyle>
          <a:p>
            <a:r>
              <a:rPr lang="en-US" dirty="0"/>
              <a:t>CLICK TO EDIT MASTER TITLE STYLE</a:t>
            </a:r>
          </a:p>
        </p:txBody>
      </p:sp>
      <p:sp>
        <p:nvSpPr>
          <p:cNvPr id="7" name="Text Placeholder 12">
            <a:extLst>
              <a:ext uri="{FF2B5EF4-FFF2-40B4-BE49-F238E27FC236}">
                <a16:creationId xmlns:a16="http://schemas.microsoft.com/office/drawing/2014/main" id="{E6537CD3-4D9A-184F-8D06-E1B8E2D9036C}"/>
              </a:ext>
            </a:extLst>
          </p:cNvPr>
          <p:cNvSpPr>
            <a:spLocks noGrp="1"/>
          </p:cNvSpPr>
          <p:nvPr>
            <p:ph type="body" sz="quarter" idx="12"/>
          </p:nvPr>
        </p:nvSpPr>
        <p:spPr>
          <a:xfrm>
            <a:off x="738188" y="2005263"/>
            <a:ext cx="5213433" cy="3930399"/>
          </a:xfrm>
          <a:prstGeom prst="rect">
            <a:avLst/>
          </a:prstGeom>
        </p:spPr>
        <p:txBody>
          <a:bodyPr/>
          <a:lstStyle>
            <a:lvl1pPr>
              <a:defRPr>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7">
            <a:extLst>
              <a:ext uri="{FF2B5EF4-FFF2-40B4-BE49-F238E27FC236}">
                <a16:creationId xmlns:a16="http://schemas.microsoft.com/office/drawing/2014/main" id="{DC03047F-22E2-5B43-86A2-7583C9DB314F}"/>
              </a:ext>
            </a:extLst>
          </p:cNvPr>
          <p:cNvSpPr>
            <a:spLocks noGrp="1"/>
          </p:cNvSpPr>
          <p:nvPr>
            <p:ph sz="quarter" idx="13"/>
          </p:nvPr>
        </p:nvSpPr>
        <p:spPr>
          <a:xfrm>
            <a:off x="6157913" y="757238"/>
            <a:ext cx="5372100" cy="520065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844211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FE664-3CF9-451A-BA1F-8A279880CD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57E4029-B792-48B5-A9E7-CC5881D7500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546A913-8532-4351-9F9F-A931DEDEA24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18FC5F9-C1E6-4D1F-BDBF-A1CE27DE1062}"/>
              </a:ext>
            </a:extLst>
          </p:cNvPr>
          <p:cNvSpPr>
            <a:spLocks noGrp="1"/>
          </p:cNvSpPr>
          <p:nvPr>
            <p:ph type="dt" sz="half" idx="10"/>
          </p:nvPr>
        </p:nvSpPr>
        <p:spPr/>
        <p:txBody>
          <a:bodyPr/>
          <a:lstStyle/>
          <a:p>
            <a:fld id="{975BE6FD-4E5E-4F71-BDCE-508CCB541410}" type="datetimeFigureOut">
              <a:rPr lang="en-US" smtClean="0"/>
              <a:t>6/15/2025</a:t>
            </a:fld>
            <a:endParaRPr lang="en-US"/>
          </a:p>
        </p:txBody>
      </p:sp>
      <p:sp>
        <p:nvSpPr>
          <p:cNvPr id="6" name="Footer Placeholder 5">
            <a:extLst>
              <a:ext uri="{FF2B5EF4-FFF2-40B4-BE49-F238E27FC236}">
                <a16:creationId xmlns:a16="http://schemas.microsoft.com/office/drawing/2014/main" id="{78DB94B8-AAD0-4907-9AE2-38A7A97F6E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0A189EF-AFC2-4085-8237-DE9001837FC5}"/>
              </a:ext>
            </a:extLst>
          </p:cNvPr>
          <p:cNvSpPr>
            <a:spLocks noGrp="1"/>
          </p:cNvSpPr>
          <p:nvPr>
            <p:ph type="sldNum" sz="quarter" idx="12"/>
          </p:nvPr>
        </p:nvSpPr>
        <p:spPr/>
        <p:txBody>
          <a:bodyPr/>
          <a:lstStyle/>
          <a:p>
            <a:fld id="{C71FF52E-5AD7-4155-AC60-4C6B64F1E779}" type="slidenum">
              <a:rPr lang="en-US" smtClean="0"/>
              <a:t>‹#›</a:t>
            </a:fld>
            <a:endParaRPr lang="en-US"/>
          </a:p>
        </p:txBody>
      </p:sp>
    </p:spTree>
    <p:extLst>
      <p:ext uri="{BB962C8B-B14F-4D97-AF65-F5344CB8AC3E}">
        <p14:creationId xmlns:p14="http://schemas.microsoft.com/office/powerpoint/2010/main" val="301248983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898BDA6-3E27-7A4A-87E5-A95C71CFCE1C}"/>
              </a:ext>
            </a:extLst>
          </p:cNvPr>
          <p:cNvSpPr/>
          <p:nvPr userDrawn="1"/>
        </p:nvSpPr>
        <p:spPr bwMode="auto">
          <a:xfrm>
            <a:off x="5215095" y="0"/>
            <a:ext cx="6976905"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Segoe UI Semibold"/>
              <a:ea typeface="+mn-ea"/>
              <a:cs typeface="+mn-cs"/>
            </a:endParaRPr>
          </a:p>
        </p:txBody>
      </p:sp>
    </p:spTree>
    <p:extLst>
      <p:ext uri="{BB962C8B-B14F-4D97-AF65-F5344CB8AC3E}">
        <p14:creationId xmlns:p14="http://schemas.microsoft.com/office/powerpoint/2010/main" val="227956550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Agenda 2">
    <p:bg>
      <p:bgPr>
        <a:solidFill>
          <a:schemeClr val="accent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548247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3E1232D7-156C-D962-60CF-298181917F06}"/>
              </a:ext>
            </a:extLst>
          </p:cNvPr>
          <p:cNvSpPr>
            <a:spLocks noGrp="1"/>
          </p:cNvSpPr>
          <p:nvPr>
            <p:ph type="body" sz="quarter" idx="10"/>
          </p:nvPr>
        </p:nvSpPr>
        <p:spPr>
          <a:xfrm>
            <a:off x="584200" y="1067356"/>
            <a:ext cx="11025188" cy="369332"/>
          </a:xfrm>
        </p:spPr>
        <p:txBody>
          <a:bodyPr/>
          <a:lstStyle>
            <a:lvl1pPr marL="0" indent="0">
              <a:buNone/>
              <a:defRPr sz="2400" spc="-20" baseline="0">
                <a:solidFill>
                  <a:schemeClr val="tx2"/>
                </a:solidFill>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Click to edit Master text styles</a:t>
            </a:r>
          </a:p>
        </p:txBody>
      </p:sp>
    </p:spTree>
    <p:extLst>
      <p:ext uri="{BB962C8B-B14F-4D97-AF65-F5344CB8AC3E}">
        <p14:creationId xmlns:p14="http://schemas.microsoft.com/office/powerpoint/2010/main" val="3131558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A8552-7AA9-5754-5096-EB5922405D80}"/>
              </a:ext>
            </a:extLst>
          </p:cNvPr>
          <p:cNvSpPr>
            <a:spLocks noGrp="1"/>
          </p:cNvSpPr>
          <p:nvPr>
            <p:ph type="ctrTitle"/>
          </p:nvPr>
        </p:nvSpPr>
        <p:spPr>
          <a:xfrm>
            <a:off x="1524000" y="1122363"/>
            <a:ext cx="9144000" cy="2387600"/>
          </a:xfrm>
        </p:spPr>
        <p:txBody>
          <a:bodyPr anchor="b"/>
          <a:lstStyle>
            <a:lvl1pPr algn="ctr">
              <a:defRPr sz="6000">
                <a:latin typeface="Montserrat SemiBold" panose="00000700000000000000" pitchFamily="2" charset="0"/>
              </a:defRPr>
            </a:lvl1pPr>
          </a:lstStyle>
          <a:p>
            <a:r>
              <a:rPr lang="en-US" dirty="0"/>
              <a:t>Click to edit Master title style</a:t>
            </a:r>
            <a:endParaRPr lang="en-DE" dirty="0"/>
          </a:p>
        </p:txBody>
      </p:sp>
      <p:sp>
        <p:nvSpPr>
          <p:cNvPr id="3" name="Subtitle 2">
            <a:extLst>
              <a:ext uri="{FF2B5EF4-FFF2-40B4-BE49-F238E27FC236}">
                <a16:creationId xmlns:a16="http://schemas.microsoft.com/office/drawing/2014/main" id="{558F13C6-7462-3B8F-2C15-C131983D887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DE"/>
          </a:p>
        </p:txBody>
      </p:sp>
    </p:spTree>
    <p:extLst>
      <p:ext uri="{BB962C8B-B14F-4D97-AF65-F5344CB8AC3E}">
        <p14:creationId xmlns:p14="http://schemas.microsoft.com/office/powerpoint/2010/main" val="15984967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1C1F26AD-EC34-C380-B8A6-24E0C61761E6}"/>
              </a:ext>
            </a:extLst>
          </p:cNvPr>
          <p:cNvSpPr>
            <a:spLocks noGrp="1"/>
          </p:cNvSpPr>
          <p:nvPr>
            <p:ph type="subTitle" idx="10" hasCustomPrompt="1"/>
          </p:nvPr>
        </p:nvSpPr>
        <p:spPr>
          <a:xfrm rot="20835641">
            <a:off x="252399" y="620956"/>
            <a:ext cx="3761197" cy="957600"/>
          </a:xfrm>
          <a:prstGeom prst="rect">
            <a:avLst/>
          </a:prstGeom>
          <a:solidFill>
            <a:schemeClr val="accent3"/>
          </a:solidFill>
        </p:spPr>
        <p:txBody>
          <a:bodyPr tIns="0" bIns="0" anchor="ctr" anchorCtr="0">
            <a:normAutofit/>
          </a:bodyPr>
          <a:lstStyle>
            <a:lvl1pPr marL="0" indent="0" algn="ctr" fontAlgn="ctr">
              <a:lnSpc>
                <a:spcPct val="100000"/>
              </a:lnSpc>
              <a:spcBef>
                <a:spcPts val="0"/>
              </a:spcBef>
              <a:buNone/>
              <a:defRPr sz="6000" b="0">
                <a:solidFill>
                  <a:schemeClr val="bg1"/>
                </a:solidFill>
                <a:latin typeface="Montserrat SemiBold" panose="000007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Agenda</a:t>
            </a:r>
            <a:endParaRPr lang="en-US" dirty="0"/>
          </a:p>
        </p:txBody>
      </p:sp>
      <p:sp>
        <p:nvSpPr>
          <p:cNvPr id="4" name="Content Placeholder 2">
            <a:extLst>
              <a:ext uri="{FF2B5EF4-FFF2-40B4-BE49-F238E27FC236}">
                <a16:creationId xmlns:a16="http://schemas.microsoft.com/office/drawing/2014/main" id="{AF1EE8A4-8D85-1906-D9E7-0C5C64E165C6}"/>
              </a:ext>
            </a:extLst>
          </p:cNvPr>
          <p:cNvSpPr>
            <a:spLocks noGrp="1"/>
          </p:cNvSpPr>
          <p:nvPr>
            <p:ph idx="1"/>
          </p:nvPr>
        </p:nvSpPr>
        <p:spPr>
          <a:xfrm>
            <a:off x="1143000" y="2148839"/>
            <a:ext cx="10210800" cy="4028123"/>
          </a:xfrm>
        </p:spPr>
        <p:txBody>
          <a:bodyPr/>
          <a:lstStyle>
            <a:lvl1pPr marL="228600" indent="-228600">
              <a:buClr>
                <a:schemeClr val="accent3"/>
              </a:buClr>
              <a:buFont typeface="Arial" panose="020B0604020202020204" pitchFamily="34" charset="0"/>
              <a:buChar char="•"/>
              <a:defRPr/>
            </a:lvl1pPr>
            <a:lvl2pPr marL="685800" indent="-228600">
              <a:buClr>
                <a:schemeClr val="accent3"/>
              </a:buClr>
              <a:buFont typeface="Arial" panose="020B0604020202020204" pitchFamily="34" charset="0"/>
              <a:buChar char="•"/>
              <a:defRPr/>
            </a:lvl2pPr>
            <a:lvl3pPr marL="1143000" indent="-228600">
              <a:buClr>
                <a:schemeClr val="accent3"/>
              </a:buClr>
              <a:buFont typeface="Arial" panose="020B0604020202020204" pitchFamily="34" charset="0"/>
              <a:buChar char="•"/>
              <a:defRPr/>
            </a:lvl3pPr>
            <a:lvl4pPr marL="1600200" indent="-228600">
              <a:buClr>
                <a:schemeClr val="accent3"/>
              </a:buClr>
              <a:buFont typeface="Arial" panose="020B0604020202020204" pitchFamily="34" charset="0"/>
              <a:buChar char="•"/>
              <a:defRPr/>
            </a:lvl4pPr>
            <a:lvl5pPr marL="2057400" indent="-228600">
              <a:buClr>
                <a:schemeClr val="accent3"/>
              </a:buClr>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DE" dirty="0"/>
          </a:p>
        </p:txBody>
      </p:sp>
    </p:spTree>
    <p:extLst>
      <p:ext uri="{BB962C8B-B14F-4D97-AF65-F5344CB8AC3E}">
        <p14:creationId xmlns:p14="http://schemas.microsoft.com/office/powerpoint/2010/main" val="100377626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F014F-8C15-839B-61CA-D36EC62644CF}"/>
              </a:ext>
            </a:extLst>
          </p:cNvPr>
          <p:cNvSpPr>
            <a:spLocks noGrp="1"/>
          </p:cNvSpPr>
          <p:nvPr>
            <p:ph type="title"/>
          </p:nvPr>
        </p:nvSpPr>
        <p:spPr/>
        <p:txBody>
          <a:bodyPr/>
          <a:lstStyle/>
          <a:p>
            <a:r>
              <a:rPr lang="en-US" dirty="0"/>
              <a:t>Click to edit Master title style</a:t>
            </a:r>
            <a:endParaRPr lang="en-DE" dirty="0"/>
          </a:p>
        </p:txBody>
      </p:sp>
      <p:sp>
        <p:nvSpPr>
          <p:cNvPr id="3" name="Content Placeholder 2">
            <a:extLst>
              <a:ext uri="{FF2B5EF4-FFF2-40B4-BE49-F238E27FC236}">
                <a16:creationId xmlns:a16="http://schemas.microsoft.com/office/drawing/2014/main" id="{D03FA00B-5B60-D0B5-9680-C54280258BB2}"/>
              </a:ext>
            </a:extLst>
          </p:cNvPr>
          <p:cNvSpPr>
            <a:spLocks noGrp="1"/>
          </p:cNvSpPr>
          <p:nvPr>
            <p:ph idx="1"/>
          </p:nvPr>
        </p:nvSpPr>
        <p:spPr/>
        <p:txBody>
          <a:bodyPr/>
          <a:lstStyle>
            <a:lvl1pPr marL="228600" indent="-228600">
              <a:buClr>
                <a:schemeClr val="accent6"/>
              </a:buClr>
              <a:buFont typeface="Arial" panose="020B0604020202020204" pitchFamily="34" charset="0"/>
              <a:buChar char="•"/>
              <a:defRPr/>
            </a:lvl1pPr>
            <a:lvl2pPr marL="685800" indent="-228600">
              <a:buClr>
                <a:schemeClr val="accent6"/>
              </a:buClr>
              <a:buFont typeface="Arial" panose="020B0604020202020204" pitchFamily="34" charset="0"/>
              <a:buChar char="•"/>
              <a:defRPr/>
            </a:lvl2pPr>
            <a:lvl3pPr marL="1143000" indent="-228600">
              <a:buClr>
                <a:schemeClr val="accent6"/>
              </a:buClr>
              <a:buFont typeface="Arial" panose="020B0604020202020204" pitchFamily="34" charset="0"/>
              <a:buChar char="•"/>
              <a:defRPr/>
            </a:lvl3pPr>
            <a:lvl4pPr marL="1600200" indent="-228600">
              <a:buClr>
                <a:schemeClr val="accent6"/>
              </a:buClr>
              <a:buFont typeface="Arial" panose="020B0604020202020204" pitchFamily="34" charset="0"/>
              <a:buChar char="•"/>
              <a:defRPr/>
            </a:lvl4pPr>
            <a:lvl5pPr marL="2057400" indent="-228600">
              <a:buClr>
                <a:schemeClr val="accent6"/>
              </a:buClr>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DE" dirty="0"/>
          </a:p>
        </p:txBody>
      </p:sp>
    </p:spTree>
    <p:extLst>
      <p:ext uri="{BB962C8B-B14F-4D97-AF65-F5344CB8AC3E}">
        <p14:creationId xmlns:p14="http://schemas.microsoft.com/office/powerpoint/2010/main" val="34125713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8E39E-4E4D-2E96-6384-831AC0B1EFFA}"/>
              </a:ext>
            </a:extLst>
          </p:cNvPr>
          <p:cNvSpPr>
            <a:spLocks noGrp="1"/>
          </p:cNvSpPr>
          <p:nvPr>
            <p:ph type="title"/>
          </p:nvPr>
        </p:nvSpPr>
        <p:spPr>
          <a:xfrm>
            <a:off x="831850" y="1709739"/>
            <a:ext cx="10515600" cy="2106888"/>
          </a:xfrm>
        </p:spPr>
        <p:txBody>
          <a:bodyPr anchor="b"/>
          <a:lstStyle>
            <a:lvl1pPr>
              <a:defRPr sz="6000"/>
            </a:lvl1pPr>
          </a:lstStyle>
          <a:p>
            <a:r>
              <a:rPr lang="en-US" dirty="0"/>
              <a:t>Click to edit Master title style</a:t>
            </a:r>
            <a:endParaRPr lang="en-DE" dirty="0"/>
          </a:p>
        </p:txBody>
      </p:sp>
      <p:sp>
        <p:nvSpPr>
          <p:cNvPr id="3" name="Text Placeholder 2">
            <a:extLst>
              <a:ext uri="{FF2B5EF4-FFF2-40B4-BE49-F238E27FC236}">
                <a16:creationId xmlns:a16="http://schemas.microsoft.com/office/drawing/2014/main" id="{1EA17B7B-34D7-66FD-F4C2-77908990F839}"/>
              </a:ext>
            </a:extLst>
          </p:cNvPr>
          <p:cNvSpPr>
            <a:spLocks noGrp="1"/>
          </p:cNvSpPr>
          <p:nvPr>
            <p:ph type="body" idx="1"/>
          </p:nvPr>
        </p:nvSpPr>
        <p:spPr>
          <a:xfrm>
            <a:off x="831850" y="3867219"/>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sp>
        <p:nvSpPr>
          <p:cNvPr id="7" name="Subtitle 2">
            <a:extLst>
              <a:ext uri="{FF2B5EF4-FFF2-40B4-BE49-F238E27FC236}">
                <a16:creationId xmlns:a16="http://schemas.microsoft.com/office/drawing/2014/main" id="{1C1F26AD-EC34-C380-B8A6-24E0C61761E6}"/>
              </a:ext>
            </a:extLst>
          </p:cNvPr>
          <p:cNvSpPr>
            <a:spLocks noGrp="1"/>
          </p:cNvSpPr>
          <p:nvPr>
            <p:ph type="subTitle" idx="10" hasCustomPrompt="1"/>
          </p:nvPr>
        </p:nvSpPr>
        <p:spPr>
          <a:xfrm rot="20944348">
            <a:off x="328599" y="1169595"/>
            <a:ext cx="3761197" cy="957600"/>
          </a:xfrm>
          <a:prstGeom prst="rect">
            <a:avLst/>
          </a:prstGeom>
          <a:solidFill>
            <a:schemeClr val="accent3"/>
          </a:solidFill>
        </p:spPr>
        <p:txBody>
          <a:bodyPr tIns="0" bIns="0" anchor="ctr" anchorCtr="0">
            <a:normAutofit/>
          </a:bodyPr>
          <a:lstStyle>
            <a:lvl1pPr marL="0" indent="0" algn="ctr" fontAlgn="ctr">
              <a:lnSpc>
                <a:spcPct val="100000"/>
              </a:lnSpc>
              <a:spcBef>
                <a:spcPts val="0"/>
              </a:spcBef>
              <a:buNone/>
              <a:defRPr sz="6000" b="0">
                <a:solidFill>
                  <a:schemeClr val="bg1"/>
                </a:solidFill>
                <a:latin typeface="Montserrat SemiBold" panose="000007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ticker</a:t>
            </a:r>
            <a:endParaRPr lang="en-US" dirty="0"/>
          </a:p>
        </p:txBody>
      </p:sp>
    </p:spTree>
    <p:extLst>
      <p:ext uri="{BB962C8B-B14F-4D97-AF65-F5344CB8AC3E}">
        <p14:creationId xmlns:p14="http://schemas.microsoft.com/office/powerpoint/2010/main" val="94397630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Section Header">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8E39E-4E4D-2E96-6384-831AC0B1EFFA}"/>
              </a:ext>
            </a:extLst>
          </p:cNvPr>
          <p:cNvSpPr>
            <a:spLocks noGrp="1"/>
          </p:cNvSpPr>
          <p:nvPr>
            <p:ph type="title"/>
          </p:nvPr>
        </p:nvSpPr>
        <p:spPr>
          <a:xfrm>
            <a:off x="831850" y="1709739"/>
            <a:ext cx="10515600" cy="2106888"/>
          </a:xfrm>
        </p:spPr>
        <p:txBody>
          <a:bodyPr anchor="b"/>
          <a:lstStyle>
            <a:lvl1pPr>
              <a:defRPr sz="6000">
                <a:solidFill>
                  <a:schemeClr val="bg1"/>
                </a:solidFill>
              </a:defRPr>
            </a:lvl1pPr>
          </a:lstStyle>
          <a:p>
            <a:r>
              <a:rPr lang="en-US" dirty="0"/>
              <a:t>Click to edit Master title style</a:t>
            </a:r>
            <a:endParaRPr lang="en-DE" dirty="0"/>
          </a:p>
        </p:txBody>
      </p:sp>
      <p:sp>
        <p:nvSpPr>
          <p:cNvPr id="3" name="Text Placeholder 2">
            <a:extLst>
              <a:ext uri="{FF2B5EF4-FFF2-40B4-BE49-F238E27FC236}">
                <a16:creationId xmlns:a16="http://schemas.microsoft.com/office/drawing/2014/main" id="{1EA17B7B-34D7-66FD-F4C2-77908990F839}"/>
              </a:ext>
            </a:extLst>
          </p:cNvPr>
          <p:cNvSpPr>
            <a:spLocks noGrp="1"/>
          </p:cNvSpPr>
          <p:nvPr>
            <p:ph type="body" idx="1"/>
          </p:nvPr>
        </p:nvSpPr>
        <p:spPr>
          <a:xfrm>
            <a:off x="831850" y="3867219"/>
            <a:ext cx="10515600" cy="1500187"/>
          </a:xfrm>
        </p:spPr>
        <p:txBody>
          <a:bodyPr/>
          <a:lstStyle>
            <a:lvl1pPr marL="0" indent="0">
              <a:buNone/>
              <a:defRPr sz="24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sp>
        <p:nvSpPr>
          <p:cNvPr id="7" name="Subtitle 2">
            <a:extLst>
              <a:ext uri="{FF2B5EF4-FFF2-40B4-BE49-F238E27FC236}">
                <a16:creationId xmlns:a16="http://schemas.microsoft.com/office/drawing/2014/main" id="{1C1F26AD-EC34-C380-B8A6-24E0C61761E6}"/>
              </a:ext>
            </a:extLst>
          </p:cNvPr>
          <p:cNvSpPr>
            <a:spLocks noGrp="1"/>
          </p:cNvSpPr>
          <p:nvPr>
            <p:ph type="subTitle" idx="10" hasCustomPrompt="1"/>
          </p:nvPr>
        </p:nvSpPr>
        <p:spPr>
          <a:xfrm rot="20944348">
            <a:off x="328599" y="1169595"/>
            <a:ext cx="3761197" cy="957600"/>
          </a:xfrm>
          <a:prstGeom prst="rect">
            <a:avLst/>
          </a:prstGeom>
          <a:solidFill>
            <a:schemeClr val="accent2"/>
          </a:solidFill>
        </p:spPr>
        <p:txBody>
          <a:bodyPr tIns="0" bIns="0" anchor="ctr" anchorCtr="0">
            <a:normAutofit/>
          </a:bodyPr>
          <a:lstStyle>
            <a:lvl1pPr marL="0" indent="0" algn="ctr" fontAlgn="ctr">
              <a:lnSpc>
                <a:spcPct val="100000"/>
              </a:lnSpc>
              <a:spcBef>
                <a:spcPts val="0"/>
              </a:spcBef>
              <a:buNone/>
              <a:defRPr sz="6000" b="0">
                <a:solidFill>
                  <a:schemeClr val="bg1"/>
                </a:solidFill>
                <a:latin typeface="Montserrat SemiBold" panose="000007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ticker</a:t>
            </a:r>
            <a:endParaRPr lang="en-US" dirty="0"/>
          </a:p>
        </p:txBody>
      </p:sp>
    </p:spTree>
    <p:extLst>
      <p:ext uri="{BB962C8B-B14F-4D97-AF65-F5344CB8AC3E}">
        <p14:creationId xmlns:p14="http://schemas.microsoft.com/office/powerpoint/2010/main" val="365312231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41B01-7AC0-2335-53E9-4EB559BB025D}"/>
              </a:ext>
            </a:extLst>
          </p:cNvPr>
          <p:cNvSpPr>
            <a:spLocks noGrp="1"/>
          </p:cNvSpPr>
          <p:nvPr>
            <p:ph type="title"/>
          </p:nvPr>
        </p:nvSpPr>
        <p:spPr/>
        <p:txBody>
          <a:bodyPr/>
          <a:lstStyle/>
          <a:p>
            <a:r>
              <a:rPr lang="en-US"/>
              <a:t>Click to edit Master title style</a:t>
            </a:r>
            <a:endParaRPr lang="en-DE"/>
          </a:p>
        </p:txBody>
      </p:sp>
      <p:sp>
        <p:nvSpPr>
          <p:cNvPr id="3" name="Content Placeholder 2">
            <a:extLst>
              <a:ext uri="{FF2B5EF4-FFF2-40B4-BE49-F238E27FC236}">
                <a16:creationId xmlns:a16="http://schemas.microsoft.com/office/drawing/2014/main" id="{F2768D5D-8871-A99E-9B96-7304C4A2C9C9}"/>
              </a:ext>
            </a:extLst>
          </p:cNvPr>
          <p:cNvSpPr>
            <a:spLocks noGrp="1"/>
          </p:cNvSpPr>
          <p:nvPr>
            <p:ph sz="half" idx="1"/>
          </p:nvPr>
        </p:nvSpPr>
        <p:spPr>
          <a:xfrm>
            <a:off x="838200" y="1825625"/>
            <a:ext cx="5181600" cy="4351338"/>
          </a:xfrm>
        </p:spPr>
        <p:txBody>
          <a:bodyPr/>
          <a:lstStyle>
            <a:lvl1pPr>
              <a:buClr>
                <a:schemeClr val="accent6"/>
              </a:buClr>
              <a:defRPr/>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DE" dirty="0"/>
          </a:p>
        </p:txBody>
      </p:sp>
      <p:sp>
        <p:nvSpPr>
          <p:cNvPr id="4" name="Content Placeholder 3">
            <a:extLst>
              <a:ext uri="{FF2B5EF4-FFF2-40B4-BE49-F238E27FC236}">
                <a16:creationId xmlns:a16="http://schemas.microsoft.com/office/drawing/2014/main" id="{A7731F85-5B25-C909-9912-122F7DC4A973}"/>
              </a:ext>
            </a:extLst>
          </p:cNvPr>
          <p:cNvSpPr>
            <a:spLocks noGrp="1"/>
          </p:cNvSpPr>
          <p:nvPr>
            <p:ph sz="half" idx="2"/>
          </p:nvPr>
        </p:nvSpPr>
        <p:spPr>
          <a:xfrm>
            <a:off x="6172200" y="1825625"/>
            <a:ext cx="5181600" cy="4351338"/>
          </a:xfrm>
        </p:spPr>
        <p:txBody>
          <a:bodyPr>
            <a:normAutofit/>
          </a:bodyPr>
          <a:lstStyle>
            <a:lvl1pPr marL="228600" indent="-228600" algn="l" defTabSz="914400" rtl="0" eaLnBrk="1" latinLnBrk="0" hangingPunct="1">
              <a:lnSpc>
                <a:spcPct val="90000"/>
              </a:lnSpc>
              <a:buClr>
                <a:schemeClr val="accent6"/>
              </a:buClr>
              <a:buFont typeface="Arial" panose="020B0604020202020204" pitchFamily="34" charset="0"/>
              <a:buChar char="•"/>
              <a:defRPr lang="en-US" sz="2800" kern="1200" dirty="0" smtClean="0">
                <a:solidFill>
                  <a:schemeClr val="tx1"/>
                </a:solidFill>
                <a:latin typeface="+mn-lt"/>
                <a:ea typeface="+mn-ea"/>
                <a:cs typeface="+mn-cs"/>
              </a:defRPr>
            </a:lvl1pPr>
            <a:lvl2pPr marL="685800" indent="-228600" algn="l" defTabSz="914400" rtl="0" eaLnBrk="1" latinLnBrk="0" hangingPunct="1">
              <a:lnSpc>
                <a:spcPct val="90000"/>
              </a:lnSpc>
              <a:buClr>
                <a:schemeClr val="accent6"/>
              </a:buClr>
              <a:buFont typeface="Arial" panose="020B0604020202020204" pitchFamily="34" charset="0"/>
              <a:buChar char="•"/>
              <a:defRPr lang="en-US" sz="2800" kern="1200" dirty="0" smtClean="0">
                <a:solidFill>
                  <a:schemeClr val="tx1"/>
                </a:solidFill>
                <a:latin typeface="+mn-lt"/>
                <a:ea typeface="+mn-ea"/>
                <a:cs typeface="+mn-cs"/>
              </a:defRPr>
            </a:lvl2pPr>
            <a:lvl3pPr marL="1143000" indent="-228600" algn="l" defTabSz="914400" rtl="0" eaLnBrk="1" latinLnBrk="0" hangingPunct="1">
              <a:lnSpc>
                <a:spcPct val="90000"/>
              </a:lnSpc>
              <a:buClr>
                <a:schemeClr val="accent6"/>
              </a:buClr>
              <a:buFont typeface="Arial" panose="020B0604020202020204" pitchFamily="34" charset="0"/>
              <a:buChar char="•"/>
              <a:defRPr lang="en-US" sz="2800" kern="1200" dirty="0" smtClean="0">
                <a:solidFill>
                  <a:schemeClr val="tx1"/>
                </a:solidFill>
                <a:latin typeface="+mn-lt"/>
                <a:ea typeface="+mn-ea"/>
                <a:cs typeface="+mn-cs"/>
              </a:defRPr>
            </a:lvl3pPr>
            <a:lvl4pPr marL="1600200" indent="-228600" algn="l" defTabSz="914400" rtl="0" eaLnBrk="1" latinLnBrk="0" hangingPunct="1">
              <a:lnSpc>
                <a:spcPct val="90000"/>
              </a:lnSpc>
              <a:buClr>
                <a:schemeClr val="accent6"/>
              </a:buClr>
              <a:buFont typeface="Arial" panose="020B0604020202020204" pitchFamily="34" charset="0"/>
              <a:buChar char="•"/>
              <a:defRPr lang="en-US" sz="2800" kern="1200" dirty="0" smtClean="0">
                <a:solidFill>
                  <a:schemeClr val="tx1"/>
                </a:solidFill>
                <a:latin typeface="+mn-lt"/>
                <a:ea typeface="+mn-ea"/>
                <a:cs typeface="+mn-cs"/>
              </a:defRPr>
            </a:lvl4pPr>
            <a:lvl5pPr marL="2057400" indent="-228600" algn="l" defTabSz="914400" rtl="0" eaLnBrk="1" latinLnBrk="0" hangingPunct="1">
              <a:lnSpc>
                <a:spcPct val="90000"/>
              </a:lnSpc>
              <a:buClr>
                <a:schemeClr val="accent6"/>
              </a:buClr>
              <a:buFont typeface="Arial" panose="020B0604020202020204" pitchFamily="34" charset="0"/>
              <a:buChar char="•"/>
              <a:defRPr lang="en-DE" sz="28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DE" dirty="0"/>
          </a:p>
        </p:txBody>
      </p:sp>
    </p:spTree>
    <p:extLst>
      <p:ext uri="{BB962C8B-B14F-4D97-AF65-F5344CB8AC3E}">
        <p14:creationId xmlns:p14="http://schemas.microsoft.com/office/powerpoint/2010/main" val="319001916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theme" Target="../theme/theme3.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image" Target="../media/image3.jp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theme" Target="../theme/theme4.xml"/><Relationship Id="rId1" Type="http://schemas.openxmlformats.org/officeDocument/2006/relationships/slideLayout" Target="../slideLayouts/slideLayout15.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41.xml"/><Relationship Id="rId21" Type="http://schemas.openxmlformats.org/officeDocument/2006/relationships/slideLayout" Target="../slideLayouts/slideLayout36.xml"/><Relationship Id="rId42" Type="http://schemas.openxmlformats.org/officeDocument/2006/relationships/slideLayout" Target="../slideLayouts/slideLayout57.xml"/><Relationship Id="rId47" Type="http://schemas.openxmlformats.org/officeDocument/2006/relationships/slideLayout" Target="../slideLayouts/slideLayout62.xml"/><Relationship Id="rId63" Type="http://schemas.openxmlformats.org/officeDocument/2006/relationships/slideLayout" Target="../slideLayouts/slideLayout78.xml"/><Relationship Id="rId68" Type="http://schemas.openxmlformats.org/officeDocument/2006/relationships/slideLayout" Target="../slideLayouts/slideLayout83.xml"/><Relationship Id="rId16" Type="http://schemas.openxmlformats.org/officeDocument/2006/relationships/slideLayout" Target="../slideLayouts/slideLayout3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53" Type="http://schemas.openxmlformats.org/officeDocument/2006/relationships/slideLayout" Target="../slideLayouts/slideLayout68.xml"/><Relationship Id="rId58" Type="http://schemas.openxmlformats.org/officeDocument/2006/relationships/slideLayout" Target="../slideLayouts/slideLayout73.xml"/><Relationship Id="rId66" Type="http://schemas.openxmlformats.org/officeDocument/2006/relationships/slideLayout" Target="../slideLayouts/slideLayout81.xml"/><Relationship Id="rId74" Type="http://schemas.openxmlformats.org/officeDocument/2006/relationships/slideLayout" Target="../slideLayouts/slideLayout89.xml"/><Relationship Id="rId79" Type="http://schemas.openxmlformats.org/officeDocument/2006/relationships/theme" Target="../theme/theme5.xml"/><Relationship Id="rId5" Type="http://schemas.openxmlformats.org/officeDocument/2006/relationships/slideLayout" Target="../slideLayouts/slideLayout20.xml"/><Relationship Id="rId61" Type="http://schemas.openxmlformats.org/officeDocument/2006/relationships/slideLayout" Target="../slideLayouts/slideLayout76.xml"/><Relationship Id="rId19" Type="http://schemas.openxmlformats.org/officeDocument/2006/relationships/slideLayout" Target="../slideLayouts/slideLayout3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 Id="rId48" Type="http://schemas.openxmlformats.org/officeDocument/2006/relationships/slideLayout" Target="../slideLayouts/slideLayout63.xml"/><Relationship Id="rId56" Type="http://schemas.openxmlformats.org/officeDocument/2006/relationships/slideLayout" Target="../slideLayouts/slideLayout71.xml"/><Relationship Id="rId64" Type="http://schemas.openxmlformats.org/officeDocument/2006/relationships/slideLayout" Target="../slideLayouts/slideLayout79.xml"/><Relationship Id="rId69" Type="http://schemas.openxmlformats.org/officeDocument/2006/relationships/slideLayout" Target="../slideLayouts/slideLayout84.xml"/><Relationship Id="rId77" Type="http://schemas.openxmlformats.org/officeDocument/2006/relationships/slideLayout" Target="../slideLayouts/slideLayout92.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80" Type="http://schemas.openxmlformats.org/officeDocument/2006/relationships/image" Target="../media/image5.emf"/><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slideLayout" Target="../slideLayouts/slideLayout61.xml"/><Relationship Id="rId59" Type="http://schemas.openxmlformats.org/officeDocument/2006/relationships/slideLayout" Target="../slideLayouts/slideLayout74.xml"/><Relationship Id="rId67" Type="http://schemas.openxmlformats.org/officeDocument/2006/relationships/slideLayout" Target="../slideLayouts/slideLayout82.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54" Type="http://schemas.openxmlformats.org/officeDocument/2006/relationships/slideLayout" Target="../slideLayouts/slideLayout69.xml"/><Relationship Id="rId62" Type="http://schemas.openxmlformats.org/officeDocument/2006/relationships/slideLayout" Target="../slideLayouts/slideLayout77.xml"/><Relationship Id="rId70" Type="http://schemas.openxmlformats.org/officeDocument/2006/relationships/slideLayout" Target="../slideLayouts/slideLayout85.xml"/><Relationship Id="rId75" Type="http://schemas.openxmlformats.org/officeDocument/2006/relationships/slideLayout" Target="../slideLayouts/slideLayout90.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49" Type="http://schemas.openxmlformats.org/officeDocument/2006/relationships/slideLayout" Target="../slideLayouts/slideLayout64.xml"/><Relationship Id="rId57" Type="http://schemas.openxmlformats.org/officeDocument/2006/relationships/slideLayout" Target="../slideLayouts/slideLayout72.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52" Type="http://schemas.openxmlformats.org/officeDocument/2006/relationships/slideLayout" Target="../slideLayouts/slideLayout67.xml"/><Relationship Id="rId60" Type="http://schemas.openxmlformats.org/officeDocument/2006/relationships/slideLayout" Target="../slideLayouts/slideLayout75.xml"/><Relationship Id="rId65" Type="http://schemas.openxmlformats.org/officeDocument/2006/relationships/slideLayout" Target="../slideLayouts/slideLayout80.xml"/><Relationship Id="rId73" Type="http://schemas.openxmlformats.org/officeDocument/2006/relationships/slideLayout" Target="../slideLayouts/slideLayout88.xml"/><Relationship Id="rId78" Type="http://schemas.openxmlformats.org/officeDocument/2006/relationships/slideLayout" Target="../slideLayouts/slideLayout93.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9" Type="http://schemas.openxmlformats.org/officeDocument/2006/relationships/slideLayout" Target="../slideLayouts/slideLayout54.xml"/><Relationship Id="rId34" Type="http://schemas.openxmlformats.org/officeDocument/2006/relationships/slideLayout" Target="../slideLayouts/slideLayout49.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6" Type="http://schemas.openxmlformats.org/officeDocument/2006/relationships/slideLayout" Target="../slideLayouts/slideLayout91.xml"/><Relationship Id="rId7" Type="http://schemas.openxmlformats.org/officeDocument/2006/relationships/slideLayout" Target="../slideLayouts/slideLayout22.xml"/><Relationship Id="rId71" Type="http://schemas.openxmlformats.org/officeDocument/2006/relationships/slideLayout" Target="../slideLayouts/slideLayout86.xml"/><Relationship Id="rId2" Type="http://schemas.openxmlformats.org/officeDocument/2006/relationships/slideLayout" Target="../slideLayouts/slideLayout17.xml"/><Relationship Id="rId29" Type="http://schemas.openxmlformats.org/officeDocument/2006/relationships/slideLayout" Target="../slideLayouts/slideLayout4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 Type="http://schemas.openxmlformats.org/officeDocument/2006/relationships/slideLayout" Target="../slideLayouts/slideLayout96.xml"/><Relationship Id="rId21" Type="http://schemas.openxmlformats.org/officeDocument/2006/relationships/theme" Target="../theme/theme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1765972"/>
      </p:ext>
    </p:extLst>
  </p:cSld>
  <p:clrMap bg1="lt1" tx1="dk1" bg2="lt2" tx2="dk2" accent1="accent1" accent2="accent2" accent3="accent3" accent4="accent4" accent5="accent5" accent6="accent6" hlink="hlink" folHlink="folHlink"/>
  <p:sldLayoutIdLst>
    <p:sldLayoutId id="214748367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9170703"/>
      </p:ext>
    </p:extLst>
  </p:cSld>
  <p:clrMap bg1="lt1" tx1="dk1" bg2="lt2" tx2="dk2" accent1="accent1" accent2="accent2" accent3="accent3" accent4="accent4" accent5="accent5" accent6="accent6" hlink="hlink" folHlink="folHlink"/>
  <p:sldLayoutIdLst>
    <p:sldLayoutId id="214748368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291486"/>
      </p:ext>
    </p:extLst>
  </p:cSld>
  <p:clrMap bg1="lt1" tx1="dk1" bg2="lt2" tx2="dk2" accent1="accent1" accent2="accent2" accent3="accent3" accent4="accent4" accent5="accent5" accent6="accent6" hlink="hlink" folHlink="folHlink"/>
  <p:sldLayoutIdLst>
    <p:sldLayoutId id="2147483683" r:id="rId1"/>
    <p:sldLayoutId id="2147483692" r:id="rId2"/>
    <p:sldLayoutId id="2147483689" r:id="rId3"/>
    <p:sldLayoutId id="2147483693" r:id="rId4"/>
    <p:sldLayoutId id="2147483686" r:id="rId5"/>
    <p:sldLayoutId id="2147483687" r:id="rId6"/>
    <p:sldLayoutId id="2147483694" r:id="rId7"/>
    <p:sldLayoutId id="2147483688" r:id="rId8"/>
    <p:sldLayoutId id="2147483690" r:id="rId9"/>
    <p:sldLayoutId id="2147483710" r:id="rId10"/>
    <p:sldLayoutId id="2147483877" r:id="rId11"/>
    <p:sldLayoutId id="214748387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519618"/>
      </p:ext>
    </p:extLst>
  </p:cSld>
  <p:clrMap bg1="lt1" tx1="dk1" bg2="lt2" tx2="dk2" accent1="accent1" accent2="accent2" accent3="accent3" accent4="accent4" accent5="accent5" accent6="accent6" hlink="hlink" folHlink="folHlink"/>
  <p:sldLayoutIdLst>
    <p:sldLayoutId id="214748368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0"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073548110"/>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 id="2147483809" r:id="rId32"/>
    <p:sldLayoutId id="2147483810" r:id="rId33"/>
    <p:sldLayoutId id="2147483811" r:id="rId34"/>
    <p:sldLayoutId id="2147483812" r:id="rId35"/>
    <p:sldLayoutId id="2147483813" r:id="rId36"/>
    <p:sldLayoutId id="2147483814" r:id="rId37"/>
    <p:sldLayoutId id="2147483815" r:id="rId38"/>
    <p:sldLayoutId id="2147483816" r:id="rId39"/>
    <p:sldLayoutId id="2147483817" r:id="rId40"/>
    <p:sldLayoutId id="2147483818" r:id="rId41"/>
    <p:sldLayoutId id="2147483819" r:id="rId42"/>
    <p:sldLayoutId id="2147483820" r:id="rId43"/>
    <p:sldLayoutId id="2147483821" r:id="rId44"/>
    <p:sldLayoutId id="2147483822" r:id="rId45"/>
    <p:sldLayoutId id="2147483823" r:id="rId46"/>
    <p:sldLayoutId id="2147483824" r:id="rId47"/>
    <p:sldLayoutId id="2147483825" r:id="rId48"/>
    <p:sldLayoutId id="2147483826" r:id="rId49"/>
    <p:sldLayoutId id="2147483827" r:id="rId50"/>
    <p:sldLayoutId id="2147483828" r:id="rId51"/>
    <p:sldLayoutId id="2147483829" r:id="rId52"/>
    <p:sldLayoutId id="2147483830" r:id="rId53"/>
    <p:sldLayoutId id="2147483831" r:id="rId54"/>
    <p:sldLayoutId id="2147483832" r:id="rId55"/>
    <p:sldLayoutId id="2147483833" r:id="rId56"/>
    <p:sldLayoutId id="2147483834" r:id="rId57"/>
    <p:sldLayoutId id="2147483835" r:id="rId58"/>
    <p:sldLayoutId id="2147483836" r:id="rId59"/>
    <p:sldLayoutId id="2147483837" r:id="rId60"/>
    <p:sldLayoutId id="2147483838" r:id="rId61"/>
    <p:sldLayoutId id="2147483839" r:id="rId62"/>
    <p:sldLayoutId id="2147483840" r:id="rId63"/>
    <p:sldLayoutId id="2147483841" r:id="rId64"/>
    <p:sldLayoutId id="2147483842" r:id="rId65"/>
    <p:sldLayoutId id="2147483843" r:id="rId66"/>
    <p:sldLayoutId id="2147483844" r:id="rId67"/>
    <p:sldLayoutId id="2147483845" r:id="rId68"/>
    <p:sldLayoutId id="2147483846" r:id="rId69"/>
    <p:sldLayoutId id="2147483847" r:id="rId70"/>
    <p:sldLayoutId id="2147483848" r:id="rId71"/>
    <p:sldLayoutId id="2147483849" r:id="rId72"/>
    <p:sldLayoutId id="2147483850" r:id="rId73"/>
    <p:sldLayoutId id="2147483851" r:id="rId74"/>
    <p:sldLayoutId id="2147483852" r:id="rId75"/>
    <p:sldLayoutId id="2147483853" r:id="rId76"/>
    <p:sldLayoutId id="2147483854" r:id="rId77"/>
    <p:sldLayoutId id="2147483855" r:id="rId7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D63246C-C04F-C065-97D8-27B139BEC2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DE" dirty="0"/>
          </a:p>
        </p:txBody>
      </p:sp>
      <p:sp>
        <p:nvSpPr>
          <p:cNvPr id="3" name="Text Placeholder 2">
            <a:extLst>
              <a:ext uri="{FF2B5EF4-FFF2-40B4-BE49-F238E27FC236}">
                <a16:creationId xmlns:a16="http://schemas.microsoft.com/office/drawing/2014/main" id="{F640E396-FBE7-29EB-3400-FEFC8A6B984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DE" dirty="0"/>
          </a:p>
        </p:txBody>
      </p:sp>
    </p:spTree>
    <p:extLst>
      <p:ext uri="{BB962C8B-B14F-4D97-AF65-F5344CB8AC3E}">
        <p14:creationId xmlns:p14="http://schemas.microsoft.com/office/powerpoint/2010/main" val="796855307"/>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 id="2147483871" r:id="rId15"/>
    <p:sldLayoutId id="2147483872" r:id="rId16"/>
    <p:sldLayoutId id="2147483873" r:id="rId17"/>
    <p:sldLayoutId id="2147483874" r:id="rId18"/>
    <p:sldLayoutId id="2147483875" r:id="rId19"/>
    <p:sldLayoutId id="2147483876" r:id="rId20"/>
  </p:sldLayoutIdLst>
  <p:txStyles>
    <p:titleStyle>
      <a:lvl1pPr algn="l" defTabSz="914400" rtl="0" eaLnBrk="1" latinLnBrk="0" hangingPunct="1">
        <a:lnSpc>
          <a:spcPct val="90000"/>
        </a:lnSpc>
        <a:spcBef>
          <a:spcPct val="0"/>
        </a:spcBef>
        <a:buNone/>
        <a:defRPr sz="4400" kern="1200">
          <a:solidFill>
            <a:schemeClr val="tx1"/>
          </a:solidFill>
          <a:latin typeface="Montserrat SemiBold" panose="00000700000000000000"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image" Target="../media/image88.png"/><Relationship Id="rId1" Type="http://schemas.openxmlformats.org/officeDocument/2006/relationships/slideLayout" Target="../slideLayouts/slideLayout3.xml"/><Relationship Id="rId6" Type="http://schemas.openxmlformats.org/officeDocument/2006/relationships/image" Target="../media/image92.gif"/><Relationship Id="rId5" Type="http://schemas.openxmlformats.org/officeDocument/2006/relationships/image" Target="../media/image91.png"/><Relationship Id="rId4" Type="http://schemas.openxmlformats.org/officeDocument/2006/relationships/image" Target="../media/image90.svg"/></Relationships>
</file>

<file path=ppt/slides/_rels/slide16.xml.rels><?xml version="1.0" encoding="UTF-8" standalone="yes"?>
<Relationships xmlns="http://schemas.openxmlformats.org/package/2006/relationships"><Relationship Id="rId8" Type="http://schemas.openxmlformats.org/officeDocument/2006/relationships/image" Target="../media/image67.svg"/><Relationship Id="rId13" Type="http://schemas.openxmlformats.org/officeDocument/2006/relationships/image" Target="../media/image93.png"/><Relationship Id="rId3" Type="http://schemas.openxmlformats.org/officeDocument/2006/relationships/image" Target="../media/image89.png"/><Relationship Id="rId7" Type="http://schemas.openxmlformats.org/officeDocument/2006/relationships/image" Target="../media/image66.png"/><Relationship Id="rId12" Type="http://schemas.openxmlformats.org/officeDocument/2006/relationships/image" Target="../media/image73.svg"/><Relationship Id="rId2" Type="http://schemas.openxmlformats.org/officeDocument/2006/relationships/image" Target="../media/image88.png"/><Relationship Id="rId1" Type="http://schemas.openxmlformats.org/officeDocument/2006/relationships/slideLayout" Target="../slideLayouts/slideLayout3.xml"/><Relationship Id="rId6" Type="http://schemas.openxmlformats.org/officeDocument/2006/relationships/image" Target="../media/image92.gif"/><Relationship Id="rId11" Type="http://schemas.openxmlformats.org/officeDocument/2006/relationships/image" Target="../media/image72.png"/><Relationship Id="rId5" Type="http://schemas.openxmlformats.org/officeDocument/2006/relationships/image" Target="../media/image91.png"/><Relationship Id="rId10" Type="http://schemas.openxmlformats.org/officeDocument/2006/relationships/image" Target="../media/image69.svg"/><Relationship Id="rId4" Type="http://schemas.openxmlformats.org/officeDocument/2006/relationships/image" Target="../media/image90.svg"/><Relationship Id="rId9" Type="http://schemas.openxmlformats.org/officeDocument/2006/relationships/image" Target="../media/image68.png"/></Relationships>
</file>

<file path=ppt/slides/_rels/slide1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6.xml"/><Relationship Id="rId7" Type="http://schemas.openxmlformats.org/officeDocument/2006/relationships/diagramColors" Target="../diagrams/colors2.xml"/><Relationship Id="rId2" Type="http://schemas.openxmlformats.org/officeDocument/2006/relationships/slideLayout" Target="../slideLayouts/slideLayout3.xml"/><Relationship Id="rId1" Type="http://schemas.openxmlformats.org/officeDocument/2006/relationships/tags" Target="../tags/tag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9.xml.rels><?xml version="1.0" encoding="UTF-8" standalone="yes"?>
<Relationships xmlns="http://schemas.openxmlformats.org/package/2006/relationships"><Relationship Id="rId3" Type="http://schemas.openxmlformats.org/officeDocument/2006/relationships/hyperlink" Target="https://tenor.com/search/cat-typing-gifs" TargetMode="External"/><Relationship Id="rId2" Type="http://schemas.openxmlformats.org/officeDocument/2006/relationships/image" Target="../media/image115.gi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2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6.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svg"/><Relationship Id="rId3" Type="http://schemas.openxmlformats.org/officeDocument/2006/relationships/image" Target="../media/image63.svg"/><Relationship Id="rId7" Type="http://schemas.openxmlformats.org/officeDocument/2006/relationships/image" Target="../media/image67.svg"/><Relationship Id="rId12" Type="http://schemas.openxmlformats.org/officeDocument/2006/relationships/image" Target="../media/image72.png"/><Relationship Id="rId2" Type="http://schemas.openxmlformats.org/officeDocument/2006/relationships/image" Target="../media/image62.png"/><Relationship Id="rId1" Type="http://schemas.openxmlformats.org/officeDocument/2006/relationships/slideLayout" Target="../slideLayouts/slideLayout101.xml"/><Relationship Id="rId6" Type="http://schemas.openxmlformats.org/officeDocument/2006/relationships/image" Target="../media/image66.png"/><Relationship Id="rId11" Type="http://schemas.openxmlformats.org/officeDocument/2006/relationships/image" Target="../media/image71.svg"/><Relationship Id="rId5" Type="http://schemas.openxmlformats.org/officeDocument/2006/relationships/image" Target="../media/image65.sv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svg"/></Relationships>
</file>

<file path=ppt/slides/_rels/slide7.xml.rels><?xml version="1.0" encoding="UTF-8" standalone="yes"?>
<Relationships xmlns="http://schemas.openxmlformats.org/package/2006/relationships"><Relationship Id="rId8" Type="http://schemas.openxmlformats.org/officeDocument/2006/relationships/image" Target="../media/image71.svg"/><Relationship Id="rId13" Type="http://schemas.openxmlformats.org/officeDocument/2006/relationships/image" Target="../media/image64.png"/><Relationship Id="rId3" Type="http://schemas.openxmlformats.org/officeDocument/2006/relationships/image" Target="../media/image66.png"/><Relationship Id="rId7" Type="http://schemas.openxmlformats.org/officeDocument/2006/relationships/image" Target="../media/image70.png"/><Relationship Id="rId12" Type="http://schemas.openxmlformats.org/officeDocument/2006/relationships/image" Target="../media/image75.svg"/><Relationship Id="rId2" Type="http://schemas.openxmlformats.org/officeDocument/2006/relationships/notesSlide" Target="../notesSlides/notesSlide3.xml"/><Relationship Id="rId16" Type="http://schemas.openxmlformats.org/officeDocument/2006/relationships/image" Target="../media/image77.svg"/><Relationship Id="rId1" Type="http://schemas.openxmlformats.org/officeDocument/2006/relationships/slideLayout" Target="../slideLayouts/slideLayout101.xml"/><Relationship Id="rId6" Type="http://schemas.openxmlformats.org/officeDocument/2006/relationships/image" Target="../media/image69.svg"/><Relationship Id="rId11" Type="http://schemas.openxmlformats.org/officeDocument/2006/relationships/image" Target="../media/image74.png"/><Relationship Id="rId5" Type="http://schemas.openxmlformats.org/officeDocument/2006/relationships/image" Target="../media/image68.png"/><Relationship Id="rId15" Type="http://schemas.openxmlformats.org/officeDocument/2006/relationships/image" Target="../media/image76.png"/><Relationship Id="rId10" Type="http://schemas.openxmlformats.org/officeDocument/2006/relationships/image" Target="../media/image73.svg"/><Relationship Id="rId4" Type="http://schemas.openxmlformats.org/officeDocument/2006/relationships/image" Target="../media/image67.svg"/><Relationship Id="rId9" Type="http://schemas.openxmlformats.org/officeDocument/2006/relationships/image" Target="../media/image72.png"/><Relationship Id="rId14" Type="http://schemas.openxmlformats.org/officeDocument/2006/relationships/image" Target="../media/image65.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84.jpeg"/><Relationship Id="rId3" Type="http://schemas.openxmlformats.org/officeDocument/2006/relationships/image" Target="../media/image79.svg"/><Relationship Id="rId7" Type="http://schemas.openxmlformats.org/officeDocument/2006/relationships/image" Target="../media/image83.jpeg"/><Relationship Id="rId2" Type="http://schemas.openxmlformats.org/officeDocument/2006/relationships/image" Target="../media/image78.png"/><Relationship Id="rId1" Type="http://schemas.openxmlformats.org/officeDocument/2006/relationships/slideLayout" Target="../slideLayouts/slideLayout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80.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0557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5E994B-7872-CAE5-5307-6300ADB3EE6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454A363-9914-CA92-C6D0-6229058CCB7F}"/>
              </a:ext>
            </a:extLst>
          </p:cNvPr>
          <p:cNvSpPr>
            <a:spLocks noGrp="1"/>
          </p:cNvSpPr>
          <p:nvPr>
            <p:ph type="body" sz="quarter" idx="10"/>
          </p:nvPr>
        </p:nvSpPr>
        <p:spPr/>
        <p:txBody>
          <a:bodyPr/>
          <a:lstStyle/>
          <a:p>
            <a:pPr algn="ctr"/>
            <a:r>
              <a:rPr lang="en-US" sz="8800" dirty="0"/>
              <a:t>Let’s connect to it</a:t>
            </a:r>
            <a:r>
              <a:rPr lang="en-US" sz="8800" dirty="0">
                <a:solidFill>
                  <a:srgbClr val="3679FC"/>
                </a:solidFill>
              </a:rPr>
              <a:t>! </a:t>
            </a:r>
            <a:endParaRPr lang="en-US" sz="8800" dirty="0"/>
          </a:p>
          <a:p>
            <a:pPr algn="ctr"/>
            <a:r>
              <a:rPr lang="de-DE" sz="11500" dirty="0">
                <a:solidFill>
                  <a:srgbClr val="3679FC"/>
                </a:solidFill>
              </a:rPr>
              <a:t>🙌</a:t>
            </a:r>
            <a:endParaRPr lang="en-US" sz="11500" dirty="0">
              <a:solidFill>
                <a:srgbClr val="3679FC"/>
              </a:solidFill>
            </a:endParaRPr>
          </a:p>
        </p:txBody>
      </p:sp>
    </p:spTree>
    <p:extLst>
      <p:ext uri="{BB962C8B-B14F-4D97-AF65-F5344CB8AC3E}">
        <p14:creationId xmlns:p14="http://schemas.microsoft.com/office/powerpoint/2010/main" val="38563234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29F10E-A0FF-AE3D-F540-D81EA9232DA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DEEA512-4C46-E28E-58DB-F7FE2BC50A0C}"/>
              </a:ext>
            </a:extLst>
          </p:cNvPr>
          <p:cNvSpPr>
            <a:spLocks noGrp="1"/>
          </p:cNvSpPr>
          <p:nvPr>
            <p:ph type="title"/>
          </p:nvPr>
        </p:nvSpPr>
        <p:spPr>
          <a:xfrm>
            <a:off x="606989" y="1820411"/>
            <a:ext cx="10728157" cy="2298584"/>
          </a:xfrm>
        </p:spPr>
        <p:txBody>
          <a:bodyPr/>
          <a:lstStyle/>
          <a:p>
            <a:pPr algn="ctr"/>
            <a:r>
              <a:rPr lang="de-DE" sz="8000" dirty="0"/>
              <a:t>The Backend / </a:t>
            </a:r>
            <a:r>
              <a:rPr lang="de-DE" sz="8000" dirty="0" err="1"/>
              <a:t>Datasource</a:t>
            </a:r>
            <a:br>
              <a:rPr lang="de-DE" sz="8000" dirty="0"/>
            </a:br>
            <a:r>
              <a:rPr lang="de-DE" sz="8000" dirty="0"/>
              <a:t>💾</a:t>
            </a:r>
          </a:p>
        </p:txBody>
      </p:sp>
      <p:sp>
        <p:nvSpPr>
          <p:cNvPr id="5" name="Slide Number Placeholder 4">
            <a:extLst>
              <a:ext uri="{FF2B5EF4-FFF2-40B4-BE49-F238E27FC236}">
                <a16:creationId xmlns:a16="http://schemas.microsoft.com/office/drawing/2014/main" id="{4B1D9E70-F0F8-D97B-CB64-99BC5935AFA0}"/>
              </a:ext>
            </a:extLst>
          </p:cNvPr>
          <p:cNvSpPr>
            <a:spLocks noGrp="1"/>
          </p:cNvSpPr>
          <p:nvPr>
            <p:ph type="sldNum" sz="quarter" idx="4294967295"/>
          </p:nvPr>
        </p:nvSpPr>
        <p:spPr>
          <a:xfrm>
            <a:off x="9197975" y="6361113"/>
            <a:ext cx="2994025" cy="360362"/>
          </a:xfrm>
          <a:prstGeom prst="rect">
            <a:avLst/>
          </a:prstGeom>
        </p:spPr>
        <p:txBody>
          <a:bodyPr/>
          <a:lstStyle/>
          <a:p>
            <a:fld id="{38A2B098-C640-ED48-8BF9-C82891310785}" type="slidenum">
              <a:rPr lang="en-US" smtClean="0"/>
              <a:t>11</a:t>
            </a:fld>
            <a:endParaRPr lang="en-US"/>
          </a:p>
        </p:txBody>
      </p:sp>
    </p:spTree>
    <p:extLst>
      <p:ext uri="{BB962C8B-B14F-4D97-AF65-F5344CB8AC3E}">
        <p14:creationId xmlns:p14="http://schemas.microsoft.com/office/powerpoint/2010/main" val="35832978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DCBF75-9E9F-C9A4-5945-A485446E1A1C}"/>
              </a:ext>
            </a:extLst>
          </p:cNvPr>
          <p:cNvSpPr>
            <a:spLocks noGrp="1"/>
          </p:cNvSpPr>
          <p:nvPr>
            <p:ph type="title"/>
          </p:nvPr>
        </p:nvSpPr>
        <p:spPr/>
        <p:txBody>
          <a:bodyPr/>
          <a:lstStyle/>
          <a:p>
            <a:r>
              <a:rPr lang="de-DE" dirty="0"/>
              <a:t>Dataverse / Model Driven Apps</a:t>
            </a:r>
          </a:p>
        </p:txBody>
      </p:sp>
      <p:sp>
        <p:nvSpPr>
          <p:cNvPr id="5" name="Text Placeholder 4">
            <a:extLst>
              <a:ext uri="{FF2B5EF4-FFF2-40B4-BE49-F238E27FC236}">
                <a16:creationId xmlns:a16="http://schemas.microsoft.com/office/drawing/2014/main" id="{37653D95-F319-9C39-D5DB-0B2D50BCE9C9}"/>
              </a:ext>
            </a:extLst>
          </p:cNvPr>
          <p:cNvSpPr>
            <a:spLocks noGrp="1"/>
          </p:cNvSpPr>
          <p:nvPr>
            <p:ph type="body" sz="quarter" idx="11"/>
          </p:nvPr>
        </p:nvSpPr>
        <p:spPr/>
        <p:txBody>
          <a:bodyPr/>
          <a:lstStyle/>
          <a:p>
            <a:endParaRPr lang="de-DE"/>
          </a:p>
        </p:txBody>
      </p:sp>
      <p:pic>
        <p:nvPicPr>
          <p:cNvPr id="7" name="Picture 6">
            <a:extLst>
              <a:ext uri="{FF2B5EF4-FFF2-40B4-BE49-F238E27FC236}">
                <a16:creationId xmlns:a16="http://schemas.microsoft.com/office/drawing/2014/main" id="{91F446EA-92FF-A4C9-1C18-640230856D88}"/>
              </a:ext>
            </a:extLst>
          </p:cNvPr>
          <p:cNvPicPr>
            <a:picLocks noChangeAspect="1"/>
          </p:cNvPicPr>
          <p:nvPr/>
        </p:nvPicPr>
        <p:blipFill>
          <a:blip r:embed="rId2"/>
          <a:stretch>
            <a:fillRect/>
          </a:stretch>
        </p:blipFill>
        <p:spPr>
          <a:xfrm>
            <a:off x="0" y="1524001"/>
            <a:ext cx="12192000" cy="6280531"/>
          </a:xfrm>
          <a:prstGeom prst="rect">
            <a:avLst/>
          </a:prstGeom>
        </p:spPr>
      </p:pic>
      <p:sp>
        <p:nvSpPr>
          <p:cNvPr id="8" name="Textfeld 4">
            <a:extLst>
              <a:ext uri="{FF2B5EF4-FFF2-40B4-BE49-F238E27FC236}">
                <a16:creationId xmlns:a16="http://schemas.microsoft.com/office/drawing/2014/main" id="{979B0A2B-A9BD-4EBE-BFD9-65191E32B31D}"/>
              </a:ext>
            </a:extLst>
          </p:cNvPr>
          <p:cNvSpPr txBox="1"/>
          <p:nvPr/>
        </p:nvSpPr>
        <p:spPr>
          <a:xfrm>
            <a:off x="7074971" y="4435874"/>
            <a:ext cx="5214901" cy="2711546"/>
          </a:xfrm>
          <a:prstGeom prst="rect">
            <a:avLst/>
          </a:prstGeom>
          <a:solidFill>
            <a:schemeClr val="bg1"/>
          </a:solidFill>
        </p:spPr>
        <p:txBody>
          <a:bodyPr vert="horz" wrap="none" lIns="91440" tIns="45720" rIns="91440" bIns="45720" rtlCol="0">
            <a:norm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400" dirty="0">
                <a:solidFill>
                  <a:srgbClr val="3679FC"/>
                </a:solidFill>
              </a:rPr>
              <a:t>	Attendee Management</a:t>
            </a:r>
          </a:p>
          <a:p>
            <a:pPr algn="l"/>
            <a:r>
              <a:rPr lang="en-US" sz="2400" dirty="0">
                <a:solidFill>
                  <a:srgbClr val="3679FC"/>
                </a:solidFill>
              </a:rPr>
              <a:t>	Sessions / Speaker</a:t>
            </a:r>
          </a:p>
          <a:p>
            <a:pPr algn="l"/>
            <a:r>
              <a:rPr lang="en-US" sz="2400" dirty="0">
                <a:solidFill>
                  <a:srgbClr val="3679FC"/>
                </a:solidFill>
              </a:rPr>
              <a:t>	Hotel Room Bookings</a:t>
            </a:r>
          </a:p>
          <a:p>
            <a:pPr algn="l"/>
            <a:r>
              <a:rPr lang="en-US" sz="2400" dirty="0">
                <a:solidFill>
                  <a:srgbClr val="3679FC"/>
                </a:solidFill>
              </a:rPr>
              <a:t>	Partner Management </a:t>
            </a:r>
          </a:p>
          <a:p>
            <a:pPr algn="l"/>
            <a:r>
              <a:rPr lang="en-US" sz="2400" dirty="0">
                <a:solidFill>
                  <a:srgbClr val="3679FC"/>
                </a:solidFill>
              </a:rPr>
              <a:t>	Sales</a:t>
            </a:r>
          </a:p>
          <a:p>
            <a:pPr algn="l"/>
            <a:r>
              <a:rPr lang="en-US" sz="2400" dirty="0">
                <a:solidFill>
                  <a:srgbClr val="3679FC"/>
                </a:solidFill>
              </a:rPr>
              <a:t>	Feedback</a:t>
            </a:r>
          </a:p>
          <a:p>
            <a:pPr algn="l"/>
            <a:r>
              <a:rPr lang="en-US" sz="2400" dirty="0">
                <a:solidFill>
                  <a:srgbClr val="3679FC"/>
                </a:solidFill>
              </a:rPr>
              <a:t>	And more!</a:t>
            </a:r>
          </a:p>
        </p:txBody>
      </p:sp>
    </p:spTree>
    <p:extLst>
      <p:ext uri="{BB962C8B-B14F-4D97-AF65-F5344CB8AC3E}">
        <p14:creationId xmlns:p14="http://schemas.microsoft.com/office/powerpoint/2010/main" val="22646278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94BEA5-3375-DE95-D0C9-6EFEBC51E6EC}"/>
              </a:ext>
            </a:extLst>
          </p:cNvPr>
          <p:cNvSpPr>
            <a:spLocks noGrp="1"/>
          </p:cNvSpPr>
          <p:nvPr>
            <p:ph type="title"/>
          </p:nvPr>
        </p:nvSpPr>
        <p:spPr/>
        <p:txBody>
          <a:bodyPr/>
          <a:lstStyle/>
          <a:p>
            <a:r>
              <a:rPr lang="de-DE" dirty="0"/>
              <a:t>Mobile App</a:t>
            </a:r>
          </a:p>
        </p:txBody>
      </p:sp>
      <p:pic>
        <p:nvPicPr>
          <p:cNvPr id="7" name="Picture 6">
            <a:extLst>
              <a:ext uri="{FF2B5EF4-FFF2-40B4-BE49-F238E27FC236}">
                <a16:creationId xmlns:a16="http://schemas.microsoft.com/office/drawing/2014/main" id="{F89A5932-6A23-EDAC-6535-2A468C5207F9}"/>
              </a:ext>
            </a:extLst>
          </p:cNvPr>
          <p:cNvPicPr>
            <a:picLocks noChangeAspect="1"/>
          </p:cNvPicPr>
          <p:nvPr/>
        </p:nvPicPr>
        <p:blipFill>
          <a:blip r:embed="rId2"/>
          <a:stretch>
            <a:fillRect/>
          </a:stretch>
        </p:blipFill>
        <p:spPr>
          <a:xfrm>
            <a:off x="523251" y="1772873"/>
            <a:ext cx="6411135" cy="382957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Picture 8">
            <a:extLst>
              <a:ext uri="{FF2B5EF4-FFF2-40B4-BE49-F238E27FC236}">
                <a16:creationId xmlns:a16="http://schemas.microsoft.com/office/drawing/2014/main" id="{03CA7DC2-F024-D59B-22AA-2C72C154C2CC}"/>
              </a:ext>
            </a:extLst>
          </p:cNvPr>
          <p:cNvPicPr>
            <a:picLocks noChangeAspect="1"/>
          </p:cNvPicPr>
          <p:nvPr/>
        </p:nvPicPr>
        <p:blipFill>
          <a:blip r:embed="rId3"/>
          <a:stretch>
            <a:fillRect/>
          </a:stretch>
        </p:blipFill>
        <p:spPr>
          <a:xfrm>
            <a:off x="7626644" y="274648"/>
            <a:ext cx="3738268" cy="566895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560384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F3B6DE-A651-6F7F-72EF-6CF3962EB83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1D8001D-A6B1-3DC3-B209-57AF4C4D8E5A}"/>
              </a:ext>
            </a:extLst>
          </p:cNvPr>
          <p:cNvSpPr>
            <a:spLocks noGrp="1"/>
          </p:cNvSpPr>
          <p:nvPr>
            <p:ph type="title"/>
          </p:nvPr>
        </p:nvSpPr>
        <p:spPr>
          <a:xfrm>
            <a:off x="606989" y="1820411"/>
            <a:ext cx="10728157" cy="2298584"/>
          </a:xfrm>
        </p:spPr>
        <p:txBody>
          <a:bodyPr/>
          <a:lstStyle/>
          <a:p>
            <a:pPr algn="ctr"/>
            <a:r>
              <a:rPr lang="de-DE" sz="8000" dirty="0"/>
              <a:t>API</a:t>
            </a:r>
            <a:br>
              <a:rPr lang="de-DE" sz="8000" dirty="0"/>
            </a:br>
            <a:r>
              <a:rPr lang="de-DE" sz="8000" dirty="0"/>
              <a:t>🔗</a:t>
            </a:r>
          </a:p>
        </p:txBody>
      </p:sp>
      <p:sp>
        <p:nvSpPr>
          <p:cNvPr id="5" name="Slide Number Placeholder 4">
            <a:extLst>
              <a:ext uri="{FF2B5EF4-FFF2-40B4-BE49-F238E27FC236}">
                <a16:creationId xmlns:a16="http://schemas.microsoft.com/office/drawing/2014/main" id="{D191FA7A-F139-A046-D64E-C6F214879EBB}"/>
              </a:ext>
            </a:extLst>
          </p:cNvPr>
          <p:cNvSpPr>
            <a:spLocks noGrp="1"/>
          </p:cNvSpPr>
          <p:nvPr>
            <p:ph type="sldNum" sz="quarter" idx="4294967295"/>
          </p:nvPr>
        </p:nvSpPr>
        <p:spPr>
          <a:xfrm>
            <a:off x="9197975" y="6361113"/>
            <a:ext cx="2994025" cy="360362"/>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8A2B098-C640-ED48-8BF9-C82891310785}"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88201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E17B313-DD2F-8516-7AF3-2A29A565390B}"/>
              </a:ext>
            </a:extLst>
          </p:cNvPr>
          <p:cNvSpPr>
            <a:spLocks noGrp="1"/>
          </p:cNvSpPr>
          <p:nvPr>
            <p:ph type="title"/>
          </p:nvPr>
        </p:nvSpPr>
        <p:spPr/>
        <p:txBody>
          <a:bodyPr/>
          <a:lstStyle/>
          <a:p>
            <a:r>
              <a:rPr lang="de-DE"/>
              <a:t>Behind </a:t>
            </a:r>
            <a:r>
              <a:rPr lang="de-DE" err="1"/>
              <a:t>the</a:t>
            </a:r>
            <a:r>
              <a:rPr lang="de-DE"/>
              <a:t> </a:t>
            </a:r>
            <a:r>
              <a:rPr lang="de-DE" err="1"/>
              <a:t>scenes</a:t>
            </a:r>
            <a:endParaRPr lang="de-DE"/>
          </a:p>
        </p:txBody>
      </p:sp>
      <p:sp>
        <p:nvSpPr>
          <p:cNvPr id="4" name="Inhaltsplatzhalter 3">
            <a:extLst>
              <a:ext uri="{FF2B5EF4-FFF2-40B4-BE49-F238E27FC236}">
                <a16:creationId xmlns:a16="http://schemas.microsoft.com/office/drawing/2014/main" id="{DA4BDD07-08FD-99D4-BEC6-6808B332CD8D}"/>
              </a:ext>
            </a:extLst>
          </p:cNvPr>
          <p:cNvSpPr>
            <a:spLocks noGrp="1"/>
          </p:cNvSpPr>
          <p:nvPr>
            <p:ph type="body" sz="quarter" idx="11"/>
          </p:nvPr>
        </p:nvSpPr>
        <p:spPr>
          <a:xfrm>
            <a:off x="693373" y="1438560"/>
            <a:ext cx="10747375" cy="4235450"/>
          </a:xfrm>
        </p:spPr>
        <p:txBody>
          <a:bodyPr/>
          <a:lstStyle/>
          <a:p>
            <a:pPr marL="0" indent="0">
              <a:buNone/>
            </a:pPr>
            <a:r>
              <a:rPr lang="de-DE" dirty="0"/>
              <a:t>Community </a:t>
            </a:r>
            <a:r>
              <a:rPr lang="de-DE" dirty="0" err="1"/>
              <a:t>using</a:t>
            </a:r>
            <a:r>
              <a:rPr lang="de-DE" dirty="0"/>
              <a:t> Power </a:t>
            </a:r>
            <a:r>
              <a:rPr lang="de-DE" dirty="0" err="1"/>
              <a:t>Platform</a:t>
            </a:r>
            <a:r>
              <a:rPr lang="de-DE" dirty="0"/>
              <a:t> + Azure </a:t>
            </a:r>
            <a:r>
              <a:rPr lang="de-DE" dirty="0" err="1"/>
              <a:t>for</a:t>
            </a:r>
            <a:r>
              <a:rPr lang="de-DE" dirty="0"/>
              <a:t> </a:t>
            </a:r>
            <a:r>
              <a:rPr lang="de-DE" dirty="0" err="1"/>
              <a:t>their</a:t>
            </a:r>
            <a:r>
              <a:rPr lang="de-DE" dirty="0"/>
              <a:t> Event Management</a:t>
            </a:r>
          </a:p>
          <a:p>
            <a:endParaRPr lang="de-DE" dirty="0"/>
          </a:p>
        </p:txBody>
      </p:sp>
      <p:grpSp>
        <p:nvGrpSpPr>
          <p:cNvPr id="5" name="Group 75">
            <a:extLst>
              <a:ext uri="{FF2B5EF4-FFF2-40B4-BE49-F238E27FC236}">
                <a16:creationId xmlns:a16="http://schemas.microsoft.com/office/drawing/2014/main" id="{F16FAE92-22B3-65F4-D099-92E4DA3BB39C}"/>
              </a:ext>
            </a:extLst>
          </p:cNvPr>
          <p:cNvGrpSpPr/>
          <p:nvPr/>
        </p:nvGrpSpPr>
        <p:grpSpPr>
          <a:xfrm>
            <a:off x="459725" y="2776918"/>
            <a:ext cx="2016868" cy="1321097"/>
            <a:chOff x="2277610" y="982801"/>
            <a:chExt cx="1217455" cy="797462"/>
          </a:xfrm>
        </p:grpSpPr>
        <p:sp>
          <p:nvSpPr>
            <p:cNvPr id="6" name="Textfeld 30">
              <a:extLst>
                <a:ext uri="{FF2B5EF4-FFF2-40B4-BE49-F238E27FC236}">
                  <a16:creationId xmlns:a16="http://schemas.microsoft.com/office/drawing/2014/main" id="{6E4F46B4-E3BA-9AA9-AC60-90C75FB1C0E7}"/>
                </a:ext>
              </a:extLst>
            </p:cNvPr>
            <p:cNvSpPr txBox="1"/>
            <p:nvPr/>
          </p:nvSpPr>
          <p:spPr>
            <a:xfrm>
              <a:off x="2277610" y="1503264"/>
              <a:ext cx="1217455" cy="276999"/>
            </a:xfrm>
            <a:prstGeom prst="rect">
              <a:avLst/>
            </a:prstGeom>
            <a:noFill/>
          </p:spPr>
          <p:txBody>
            <a:bodyPr wrap="square" rtlCol="0">
              <a:spAutoFit/>
            </a:bodyPr>
            <a:lstStyle/>
            <a:p>
              <a:pPr algn="ctr" defTabSz="1219170">
                <a:spcAft>
                  <a:spcPts val="800"/>
                </a:spcAft>
                <a:defRPr/>
              </a:pPr>
              <a:r>
                <a:rPr lang="de-DE" sz="1200" b="1">
                  <a:latin typeface="Montserrat" panose="00000500000000000000" pitchFamily="2" charset="0"/>
                </a:rPr>
                <a:t>Dataverse </a:t>
              </a:r>
              <a:endParaRPr lang="de-DE" sz="1200">
                <a:latin typeface="Montserrat" panose="00000500000000000000" pitchFamily="2" charset="0"/>
              </a:endParaRPr>
            </a:p>
          </p:txBody>
        </p:sp>
        <p:pic>
          <p:nvPicPr>
            <p:cNvPr id="7" name="Picture 4" descr="Chart&#10;&#10;Description automatically generated with low confidence">
              <a:extLst>
                <a:ext uri="{FF2B5EF4-FFF2-40B4-BE49-F238E27FC236}">
                  <a16:creationId xmlns:a16="http://schemas.microsoft.com/office/drawing/2014/main" id="{3E1CFE93-0D40-D3B9-EF74-B1BED00C0C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0240" y="982801"/>
              <a:ext cx="612196" cy="470454"/>
            </a:xfrm>
            <a:prstGeom prst="rect">
              <a:avLst/>
            </a:prstGeom>
          </p:spPr>
        </p:pic>
      </p:grpSp>
      <p:sp>
        <p:nvSpPr>
          <p:cNvPr id="8" name="Rechteck 7">
            <a:extLst>
              <a:ext uri="{FF2B5EF4-FFF2-40B4-BE49-F238E27FC236}">
                <a16:creationId xmlns:a16="http://schemas.microsoft.com/office/drawing/2014/main" id="{BC5C4E07-6A2F-264D-31F7-C2227939505E}"/>
              </a:ext>
            </a:extLst>
          </p:cNvPr>
          <p:cNvSpPr/>
          <p:nvPr/>
        </p:nvSpPr>
        <p:spPr>
          <a:xfrm>
            <a:off x="329442" y="2406978"/>
            <a:ext cx="2230099" cy="2557642"/>
          </a:xfrm>
          <a:prstGeom prst="rect">
            <a:avLst/>
          </a:prstGeom>
          <a:noFill/>
          <a:ln w="571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7ED59B56-01CB-6CF9-00BE-492BC94BA6F5}"/>
              </a:ext>
            </a:extLst>
          </p:cNvPr>
          <p:cNvSpPr txBox="1"/>
          <p:nvPr/>
        </p:nvSpPr>
        <p:spPr>
          <a:xfrm>
            <a:off x="644432" y="4513400"/>
            <a:ext cx="1600117" cy="369332"/>
          </a:xfrm>
          <a:prstGeom prst="rect">
            <a:avLst/>
          </a:prstGeom>
        </p:spPr>
        <p:txBody>
          <a:bodyPr wrap="none" rtlCol="0">
            <a:spAutoFit/>
          </a:bodyPr>
          <a:lstStyle/>
          <a:p>
            <a:pPr marL="0" indent="0" algn="ctr">
              <a:lnSpc>
                <a:spcPct val="100000"/>
              </a:lnSpc>
              <a:spcBef>
                <a:spcPts val="0"/>
              </a:spcBef>
              <a:buFontTx/>
              <a:buNone/>
            </a:pPr>
            <a:r>
              <a:rPr lang="de-DE">
                <a:solidFill>
                  <a:schemeClr val="accent4">
                    <a:lumMod val="75000"/>
                  </a:schemeClr>
                </a:solidFill>
                <a:latin typeface="Posterama" panose="020B0504020200020000" pitchFamily="34" charset="0"/>
                <a:ea typeface="微软雅黑"/>
                <a:cs typeface="Posterama" panose="020B0504020200020000" pitchFamily="34" charset="0"/>
              </a:rPr>
              <a:t>M365 </a:t>
            </a:r>
            <a:r>
              <a:rPr lang="de-DE" err="1">
                <a:solidFill>
                  <a:schemeClr val="accent4">
                    <a:lumMod val="75000"/>
                  </a:schemeClr>
                </a:solidFill>
                <a:latin typeface="Posterama" panose="020B0504020200020000" pitchFamily="34" charset="0"/>
                <a:ea typeface="微软雅黑"/>
                <a:cs typeface="Posterama" panose="020B0504020200020000" pitchFamily="34" charset="0"/>
              </a:rPr>
              <a:t>Tenant</a:t>
            </a:r>
            <a:endParaRPr lang="de-DE">
              <a:solidFill>
                <a:schemeClr val="accent4">
                  <a:lumMod val="75000"/>
                </a:schemeClr>
              </a:solidFill>
              <a:latin typeface="Posterama" panose="020B0504020200020000" pitchFamily="34" charset="0"/>
              <a:ea typeface="微软雅黑"/>
              <a:cs typeface="Posterama" panose="020B0504020200020000" pitchFamily="34" charset="0"/>
            </a:endParaRPr>
          </a:p>
        </p:txBody>
      </p:sp>
      <p:pic>
        <p:nvPicPr>
          <p:cNvPr id="10" name="Grafik 9" descr="Gruppe von Personen mit einfarbiger Füllung">
            <a:extLst>
              <a:ext uri="{FF2B5EF4-FFF2-40B4-BE49-F238E27FC236}">
                <a16:creationId xmlns:a16="http://schemas.microsoft.com/office/drawing/2014/main" id="{B13D7F57-3682-6DBC-55E4-1D25A47BBD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58288" y="2406978"/>
            <a:ext cx="1896270" cy="1896270"/>
          </a:xfrm>
          <a:prstGeom prst="rect">
            <a:avLst/>
          </a:prstGeom>
        </p:spPr>
      </p:pic>
      <p:sp>
        <p:nvSpPr>
          <p:cNvPr id="11" name="Textfeld 10">
            <a:extLst>
              <a:ext uri="{FF2B5EF4-FFF2-40B4-BE49-F238E27FC236}">
                <a16:creationId xmlns:a16="http://schemas.microsoft.com/office/drawing/2014/main" id="{0D2DBFB1-A88C-B68A-B4CD-A585BA7C047D}"/>
              </a:ext>
            </a:extLst>
          </p:cNvPr>
          <p:cNvSpPr txBox="1"/>
          <p:nvPr/>
        </p:nvSpPr>
        <p:spPr>
          <a:xfrm>
            <a:off x="9291373" y="4502955"/>
            <a:ext cx="2230099" cy="461665"/>
          </a:xfrm>
          <a:prstGeom prst="rect">
            <a:avLst/>
          </a:prstGeom>
        </p:spPr>
        <p:txBody>
          <a:bodyPr wrap="none" rtlCol="0">
            <a:spAutoFit/>
          </a:bodyPr>
          <a:lstStyle/>
          <a:p>
            <a:pPr marL="0" indent="0" algn="ctr">
              <a:lnSpc>
                <a:spcPct val="100000"/>
              </a:lnSpc>
              <a:spcBef>
                <a:spcPts val="0"/>
              </a:spcBef>
              <a:buFontTx/>
              <a:buNone/>
            </a:pPr>
            <a:r>
              <a:rPr lang="de-DE" sz="2400">
                <a:solidFill>
                  <a:schemeClr val="accent4">
                    <a:lumMod val="75000"/>
                  </a:schemeClr>
                </a:solidFill>
                <a:latin typeface="Posterama" panose="020B0504020200020000" pitchFamily="34" charset="0"/>
                <a:ea typeface="微软雅黑"/>
                <a:cs typeface="Posterama" panose="020B0504020200020000" pitchFamily="34" charset="0"/>
              </a:rPr>
              <a:t>External Users</a:t>
            </a:r>
          </a:p>
        </p:txBody>
      </p:sp>
      <p:sp>
        <p:nvSpPr>
          <p:cNvPr id="12" name="Rechteck 11">
            <a:extLst>
              <a:ext uri="{FF2B5EF4-FFF2-40B4-BE49-F238E27FC236}">
                <a16:creationId xmlns:a16="http://schemas.microsoft.com/office/drawing/2014/main" id="{EFEFCA4D-20CC-804E-8C19-ACA8C34A4C60}"/>
              </a:ext>
            </a:extLst>
          </p:cNvPr>
          <p:cNvSpPr/>
          <p:nvPr/>
        </p:nvSpPr>
        <p:spPr>
          <a:xfrm>
            <a:off x="3695357" y="2419826"/>
            <a:ext cx="4680293" cy="2557642"/>
          </a:xfrm>
          <a:prstGeom prst="rect">
            <a:avLst/>
          </a:prstGeom>
          <a:noFill/>
          <a:ln w="57150">
            <a:solidFill>
              <a:schemeClr val="accent6">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6">
                  <a:lumMod val="75000"/>
                  <a:lumOff val="25000"/>
                </a:schemeClr>
              </a:solidFill>
            </a:endParaRPr>
          </a:p>
        </p:txBody>
      </p:sp>
      <p:sp>
        <p:nvSpPr>
          <p:cNvPr id="13" name="Textfeld 12">
            <a:extLst>
              <a:ext uri="{FF2B5EF4-FFF2-40B4-BE49-F238E27FC236}">
                <a16:creationId xmlns:a16="http://schemas.microsoft.com/office/drawing/2014/main" id="{B2471435-414F-8333-DE4B-C11AB97C0B74}"/>
              </a:ext>
            </a:extLst>
          </p:cNvPr>
          <p:cNvSpPr txBox="1"/>
          <p:nvPr/>
        </p:nvSpPr>
        <p:spPr>
          <a:xfrm>
            <a:off x="4003305" y="4549121"/>
            <a:ext cx="811440" cy="369332"/>
          </a:xfrm>
          <a:prstGeom prst="rect">
            <a:avLst/>
          </a:prstGeom>
        </p:spPr>
        <p:txBody>
          <a:bodyPr wrap="none" rtlCol="0">
            <a:spAutoFit/>
          </a:bodyPr>
          <a:lstStyle/>
          <a:p>
            <a:pPr marL="0" indent="0" algn="ctr">
              <a:lnSpc>
                <a:spcPct val="100000"/>
              </a:lnSpc>
              <a:spcBef>
                <a:spcPts val="0"/>
              </a:spcBef>
              <a:buFontTx/>
              <a:buNone/>
            </a:pPr>
            <a:r>
              <a:rPr lang="de-DE">
                <a:solidFill>
                  <a:schemeClr val="accent6">
                    <a:lumMod val="75000"/>
                    <a:lumOff val="25000"/>
                  </a:schemeClr>
                </a:solidFill>
                <a:latin typeface="Posterama" panose="020B0504020200020000" pitchFamily="34" charset="0"/>
                <a:ea typeface="微软雅黑"/>
                <a:cs typeface="Posterama" panose="020B0504020200020000" pitchFamily="34" charset="0"/>
              </a:rPr>
              <a:t>Azure</a:t>
            </a:r>
          </a:p>
        </p:txBody>
      </p:sp>
      <p:pic>
        <p:nvPicPr>
          <p:cNvPr id="14" name="Picture 4" descr="Static Web Apps pricing - Microsoft Azure">
            <a:extLst>
              <a:ext uri="{FF2B5EF4-FFF2-40B4-BE49-F238E27FC236}">
                <a16:creationId xmlns:a16="http://schemas.microsoft.com/office/drawing/2014/main" id="{68EFA8C8-0D32-5120-229A-824829732C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40973" y="3018661"/>
            <a:ext cx="1489143" cy="781800"/>
          </a:xfrm>
          <a:prstGeom prst="rect">
            <a:avLst/>
          </a:prstGeom>
          <a:noFill/>
          <a:extLst>
            <a:ext uri="{909E8E84-426E-40DD-AFC4-6F175D3DCCD1}">
              <a14:hiddenFill xmlns:a14="http://schemas.microsoft.com/office/drawing/2010/main">
                <a:solidFill>
                  <a:srgbClr val="FFFFFF"/>
                </a:solidFill>
              </a14:hiddenFill>
            </a:ext>
          </a:extLst>
        </p:spPr>
      </p:pic>
      <p:sp>
        <p:nvSpPr>
          <p:cNvPr id="15" name="Textfeld 14">
            <a:extLst>
              <a:ext uri="{FF2B5EF4-FFF2-40B4-BE49-F238E27FC236}">
                <a16:creationId xmlns:a16="http://schemas.microsoft.com/office/drawing/2014/main" id="{A615F4DF-6BA9-6428-D024-6B89149561B2}"/>
              </a:ext>
            </a:extLst>
          </p:cNvPr>
          <p:cNvSpPr txBox="1"/>
          <p:nvPr/>
        </p:nvSpPr>
        <p:spPr>
          <a:xfrm>
            <a:off x="6378086" y="3933916"/>
            <a:ext cx="1814920" cy="369332"/>
          </a:xfrm>
          <a:prstGeom prst="rect">
            <a:avLst/>
          </a:prstGeom>
        </p:spPr>
        <p:txBody>
          <a:bodyPr wrap="none" rtlCol="0">
            <a:spAutoFit/>
          </a:bodyPr>
          <a:lstStyle/>
          <a:p>
            <a:pPr marL="0" indent="0" algn="ctr">
              <a:lnSpc>
                <a:spcPct val="100000"/>
              </a:lnSpc>
              <a:spcBef>
                <a:spcPts val="0"/>
              </a:spcBef>
              <a:buFontTx/>
              <a:buNone/>
            </a:pPr>
            <a:r>
              <a:rPr lang="de-DE">
                <a:solidFill>
                  <a:schemeClr val="accent6">
                    <a:lumMod val="75000"/>
                    <a:lumOff val="25000"/>
                  </a:schemeClr>
                </a:solidFill>
                <a:latin typeface="Posterama" panose="020B0504020200020000" pitchFamily="34" charset="0"/>
                <a:ea typeface="微软雅黑"/>
                <a:cs typeface="Posterama" panose="020B0504020200020000" pitchFamily="34" charset="0"/>
              </a:rPr>
              <a:t>Static Web App</a:t>
            </a:r>
          </a:p>
        </p:txBody>
      </p:sp>
      <p:pic>
        <p:nvPicPr>
          <p:cNvPr id="16" name="Picture 2" descr="Beginner's guide to Azure Functions — Part 1 | by Nikhil Khandelwal |  ashsoftware | Medium">
            <a:extLst>
              <a:ext uri="{FF2B5EF4-FFF2-40B4-BE49-F238E27FC236}">
                <a16:creationId xmlns:a16="http://schemas.microsoft.com/office/drawing/2014/main" id="{DDFE837F-ABA1-FD74-668A-5B23AD521534}"/>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03305" y="3079396"/>
            <a:ext cx="2229721" cy="953778"/>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Gerade Verbindung mit Pfeil 16">
            <a:extLst>
              <a:ext uri="{FF2B5EF4-FFF2-40B4-BE49-F238E27FC236}">
                <a16:creationId xmlns:a16="http://schemas.microsoft.com/office/drawing/2014/main" id="{41C38182-E5CF-D640-6DC0-2A9B34113F9A}"/>
              </a:ext>
            </a:extLst>
          </p:cNvPr>
          <p:cNvCxnSpPr/>
          <p:nvPr/>
        </p:nvCxnSpPr>
        <p:spPr>
          <a:xfrm flipH="1">
            <a:off x="2244549" y="3490279"/>
            <a:ext cx="1677312" cy="0"/>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967CB47A-6305-C072-0B93-F85650016DAB}"/>
              </a:ext>
            </a:extLst>
          </p:cNvPr>
          <p:cNvCxnSpPr>
            <a:cxnSpLocks/>
          </p:cNvCxnSpPr>
          <p:nvPr/>
        </p:nvCxnSpPr>
        <p:spPr>
          <a:xfrm>
            <a:off x="5593149" y="3235814"/>
            <a:ext cx="947824"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Gerade Verbindung mit Pfeil 18">
            <a:extLst>
              <a:ext uri="{FF2B5EF4-FFF2-40B4-BE49-F238E27FC236}">
                <a16:creationId xmlns:a16="http://schemas.microsoft.com/office/drawing/2014/main" id="{BEC6040B-BC3E-FBBB-3DCA-828792E9148B}"/>
              </a:ext>
            </a:extLst>
          </p:cNvPr>
          <p:cNvCxnSpPr>
            <a:cxnSpLocks/>
          </p:cNvCxnSpPr>
          <p:nvPr/>
        </p:nvCxnSpPr>
        <p:spPr>
          <a:xfrm flipH="1">
            <a:off x="8566586" y="3347331"/>
            <a:ext cx="108220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E9C35AF1-EB6A-C21E-2829-2E4B48FBE8CA}"/>
              </a:ext>
            </a:extLst>
          </p:cNvPr>
          <p:cNvSpPr txBox="1"/>
          <p:nvPr/>
        </p:nvSpPr>
        <p:spPr>
          <a:xfrm>
            <a:off x="2509700" y="3079396"/>
            <a:ext cx="1167307" cy="369332"/>
          </a:xfrm>
          <a:prstGeom prst="rect">
            <a:avLst/>
          </a:prstGeom>
        </p:spPr>
        <p:txBody>
          <a:bodyPr wrap="none" rtlCol="0">
            <a:spAutoFit/>
          </a:bodyPr>
          <a:lstStyle/>
          <a:p>
            <a:pPr marL="0" indent="0" algn="ctr">
              <a:lnSpc>
                <a:spcPct val="100000"/>
              </a:lnSpc>
              <a:spcBef>
                <a:spcPts val="0"/>
              </a:spcBef>
              <a:buFontTx/>
              <a:buNone/>
            </a:pPr>
            <a:r>
              <a:rPr lang="de-DE" sz="1800" b="1" err="1">
                <a:solidFill>
                  <a:srgbClr val="FFC000"/>
                </a:solidFill>
                <a:latin typeface="Posterama" panose="020B0504020200020000" pitchFamily="34" charset="0"/>
                <a:ea typeface="微软雅黑"/>
                <a:cs typeface="Posterama" panose="020B0504020200020000" pitchFamily="34" charset="0"/>
              </a:rPr>
              <a:t>Get</a:t>
            </a:r>
            <a:r>
              <a:rPr lang="de-DE" sz="1800" b="1">
                <a:solidFill>
                  <a:srgbClr val="FFC000"/>
                </a:solidFill>
                <a:latin typeface="Posterama" panose="020B0504020200020000" pitchFamily="34" charset="0"/>
                <a:ea typeface="微软雅黑"/>
                <a:cs typeface="Posterama" panose="020B0504020200020000" pitchFamily="34" charset="0"/>
              </a:rPr>
              <a:t> Data</a:t>
            </a:r>
          </a:p>
        </p:txBody>
      </p:sp>
      <p:sp>
        <p:nvSpPr>
          <p:cNvPr id="21" name="Textfeld 20">
            <a:extLst>
              <a:ext uri="{FF2B5EF4-FFF2-40B4-BE49-F238E27FC236}">
                <a16:creationId xmlns:a16="http://schemas.microsoft.com/office/drawing/2014/main" id="{7C447B69-8984-6C6B-CBAE-A049DC5CC772}"/>
              </a:ext>
            </a:extLst>
          </p:cNvPr>
          <p:cNvSpPr txBox="1"/>
          <p:nvPr/>
        </p:nvSpPr>
        <p:spPr>
          <a:xfrm>
            <a:off x="5191226" y="2671168"/>
            <a:ext cx="1635384" cy="369332"/>
          </a:xfrm>
          <a:prstGeom prst="rect">
            <a:avLst/>
          </a:prstGeom>
        </p:spPr>
        <p:txBody>
          <a:bodyPr wrap="none" rtlCol="0">
            <a:spAutoFit/>
          </a:bodyPr>
          <a:lstStyle/>
          <a:p>
            <a:pPr marL="0" indent="0" algn="ctr">
              <a:lnSpc>
                <a:spcPct val="100000"/>
              </a:lnSpc>
              <a:spcBef>
                <a:spcPts val="0"/>
              </a:spcBef>
              <a:buFontTx/>
              <a:buNone/>
            </a:pPr>
            <a:r>
              <a:rPr lang="de-DE" b="1">
                <a:solidFill>
                  <a:srgbClr val="FF0000"/>
                </a:solidFill>
                <a:latin typeface="Posterama" panose="020B0504020200020000" pitchFamily="34" charset="0"/>
                <a:ea typeface="微软雅黑"/>
                <a:cs typeface="Posterama" panose="020B0504020200020000" pitchFamily="34" charset="0"/>
              </a:rPr>
              <a:t>Trigger Build</a:t>
            </a:r>
            <a:endParaRPr lang="de-DE" sz="1800" b="1">
              <a:solidFill>
                <a:srgbClr val="FF0000"/>
              </a:solidFill>
              <a:latin typeface="Posterama" panose="020B0504020200020000" pitchFamily="34" charset="0"/>
              <a:ea typeface="微软雅黑"/>
              <a:cs typeface="Posterama" panose="020B0504020200020000" pitchFamily="34" charset="0"/>
            </a:endParaRPr>
          </a:p>
        </p:txBody>
      </p:sp>
      <p:sp>
        <p:nvSpPr>
          <p:cNvPr id="22" name="Textfeld 21">
            <a:extLst>
              <a:ext uri="{FF2B5EF4-FFF2-40B4-BE49-F238E27FC236}">
                <a16:creationId xmlns:a16="http://schemas.microsoft.com/office/drawing/2014/main" id="{11EED1F2-BB1C-0AA3-E5AC-970813305282}"/>
              </a:ext>
            </a:extLst>
          </p:cNvPr>
          <p:cNvSpPr txBox="1"/>
          <p:nvPr/>
        </p:nvSpPr>
        <p:spPr>
          <a:xfrm>
            <a:off x="8597393" y="2774583"/>
            <a:ext cx="1085555" cy="369332"/>
          </a:xfrm>
          <a:prstGeom prst="rect">
            <a:avLst/>
          </a:prstGeom>
        </p:spPr>
        <p:txBody>
          <a:bodyPr wrap="none" rtlCol="0">
            <a:spAutoFit/>
          </a:bodyPr>
          <a:lstStyle/>
          <a:p>
            <a:pPr marL="0" indent="0" algn="ctr">
              <a:lnSpc>
                <a:spcPct val="100000"/>
              </a:lnSpc>
              <a:spcBef>
                <a:spcPts val="0"/>
              </a:spcBef>
              <a:buFontTx/>
              <a:buNone/>
            </a:pPr>
            <a:r>
              <a:rPr lang="en-US" b="1">
                <a:solidFill>
                  <a:srgbClr val="00B050"/>
                </a:solidFill>
              </a:rPr>
              <a:t>Consume</a:t>
            </a:r>
          </a:p>
        </p:txBody>
      </p:sp>
      <p:pic>
        <p:nvPicPr>
          <p:cNvPr id="1026" name="Picture 2" descr="API Gateway Logo">
            <a:extLst>
              <a:ext uri="{FF2B5EF4-FFF2-40B4-BE49-F238E27FC236}">
                <a16:creationId xmlns:a16="http://schemas.microsoft.com/office/drawing/2014/main" id="{7A7180A3-6272-297C-DCD9-2B8D265E91B4}"/>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59584" y="3741613"/>
            <a:ext cx="1631595" cy="815798"/>
          </a:xfrm>
          <a:prstGeom prst="rect">
            <a:avLst/>
          </a:prstGeom>
          <a:noFill/>
          <a:extLst>
            <a:ext uri="{909E8E84-426E-40DD-AFC4-6F175D3DCCD1}">
              <a14:hiddenFill xmlns:a14="http://schemas.microsoft.com/office/drawing/2010/main">
                <a:solidFill>
                  <a:srgbClr val="FFFFFF"/>
                </a:solidFill>
              </a14:hiddenFill>
            </a:ext>
          </a:extLst>
        </p:spPr>
      </p:pic>
      <p:sp>
        <p:nvSpPr>
          <p:cNvPr id="24" name="Textfeld 23">
            <a:extLst>
              <a:ext uri="{FF2B5EF4-FFF2-40B4-BE49-F238E27FC236}">
                <a16:creationId xmlns:a16="http://schemas.microsoft.com/office/drawing/2014/main" id="{D433F89E-0938-B3DD-58E5-1CBAF61B3EA9}"/>
              </a:ext>
            </a:extLst>
          </p:cNvPr>
          <p:cNvSpPr txBox="1"/>
          <p:nvPr/>
        </p:nvSpPr>
        <p:spPr>
          <a:xfrm>
            <a:off x="5769025" y="4486445"/>
            <a:ext cx="1600118" cy="307777"/>
          </a:xfrm>
          <a:prstGeom prst="rect">
            <a:avLst/>
          </a:prstGeom>
        </p:spPr>
        <p:txBody>
          <a:bodyPr wrap="none" rtlCol="0">
            <a:spAutoFit/>
          </a:bodyPr>
          <a:lstStyle/>
          <a:p>
            <a:pPr marL="0" indent="0" algn="ctr">
              <a:lnSpc>
                <a:spcPct val="100000"/>
              </a:lnSpc>
              <a:spcBef>
                <a:spcPts val="0"/>
              </a:spcBef>
              <a:buFontTx/>
              <a:buNone/>
            </a:pPr>
            <a:r>
              <a:rPr lang="de-DE" sz="1400">
                <a:solidFill>
                  <a:schemeClr val="accent6">
                    <a:lumMod val="75000"/>
                    <a:lumOff val="25000"/>
                  </a:schemeClr>
                </a:solidFill>
                <a:latin typeface="Posterama" panose="020B0504020200020000" pitchFamily="34" charset="0"/>
                <a:ea typeface="微软雅黑"/>
                <a:cs typeface="Posterama" panose="020B0504020200020000" pitchFamily="34" charset="0"/>
              </a:rPr>
              <a:t>API Management</a:t>
            </a:r>
          </a:p>
        </p:txBody>
      </p:sp>
    </p:spTree>
    <p:extLst>
      <p:ext uri="{BB962C8B-B14F-4D97-AF65-F5344CB8AC3E}">
        <p14:creationId xmlns:p14="http://schemas.microsoft.com/office/powerpoint/2010/main" val="3374304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2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1" grpId="0"/>
      <p:bldP spid="12" grpId="0" animBg="1"/>
      <p:bldP spid="13" grpId="0"/>
      <p:bldP spid="15" grpId="0"/>
      <p:bldP spid="20" grpId="0"/>
      <p:bldP spid="21" grpId="0"/>
      <p:bldP spid="22" grpId="0"/>
      <p:bldP spid="2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E17B313-DD2F-8516-7AF3-2A29A565390B}"/>
              </a:ext>
            </a:extLst>
          </p:cNvPr>
          <p:cNvSpPr>
            <a:spLocks noGrp="1"/>
          </p:cNvSpPr>
          <p:nvPr>
            <p:ph type="title"/>
          </p:nvPr>
        </p:nvSpPr>
        <p:spPr/>
        <p:txBody>
          <a:bodyPr/>
          <a:lstStyle/>
          <a:p>
            <a:r>
              <a:rPr lang="de-DE"/>
              <a:t>Behind </a:t>
            </a:r>
            <a:r>
              <a:rPr lang="de-DE" err="1"/>
              <a:t>the</a:t>
            </a:r>
            <a:r>
              <a:rPr lang="de-DE"/>
              <a:t> </a:t>
            </a:r>
            <a:r>
              <a:rPr lang="de-DE" err="1"/>
              <a:t>scenes</a:t>
            </a:r>
            <a:endParaRPr lang="de-DE"/>
          </a:p>
        </p:txBody>
      </p:sp>
      <p:sp>
        <p:nvSpPr>
          <p:cNvPr id="4" name="Inhaltsplatzhalter 3">
            <a:extLst>
              <a:ext uri="{FF2B5EF4-FFF2-40B4-BE49-F238E27FC236}">
                <a16:creationId xmlns:a16="http://schemas.microsoft.com/office/drawing/2014/main" id="{DA4BDD07-08FD-99D4-BEC6-6808B332CD8D}"/>
              </a:ext>
            </a:extLst>
          </p:cNvPr>
          <p:cNvSpPr>
            <a:spLocks noGrp="1"/>
          </p:cNvSpPr>
          <p:nvPr>
            <p:ph type="body" sz="quarter" idx="11"/>
          </p:nvPr>
        </p:nvSpPr>
        <p:spPr>
          <a:xfrm>
            <a:off x="804261" y="1382431"/>
            <a:ext cx="10747375" cy="4235450"/>
          </a:xfrm>
        </p:spPr>
        <p:txBody>
          <a:bodyPr/>
          <a:lstStyle/>
          <a:p>
            <a:pPr marL="0" indent="0">
              <a:buNone/>
            </a:pPr>
            <a:r>
              <a:rPr lang="de-DE" dirty="0" err="1"/>
              <a:t>We</a:t>
            </a:r>
            <a:r>
              <a:rPr lang="de-DE" dirty="0"/>
              <a:t> </a:t>
            </a:r>
            <a:r>
              <a:rPr lang="de-DE" dirty="0" err="1"/>
              <a:t>use</a:t>
            </a:r>
            <a:r>
              <a:rPr lang="de-DE" dirty="0"/>
              <a:t> a Custom Connector </a:t>
            </a:r>
            <a:r>
              <a:rPr lang="de-DE" dirty="0" err="1"/>
              <a:t>to</a:t>
            </a:r>
            <a:r>
              <a:rPr lang="de-DE" dirty="0"/>
              <a:t> connect </a:t>
            </a:r>
            <a:r>
              <a:rPr lang="de-DE" dirty="0" err="1"/>
              <a:t>with</a:t>
            </a:r>
            <a:r>
              <a:rPr lang="de-DE" dirty="0"/>
              <a:t> </a:t>
            </a:r>
            <a:r>
              <a:rPr lang="de-DE" dirty="0" err="1"/>
              <a:t>their</a:t>
            </a:r>
            <a:r>
              <a:rPr lang="de-DE" dirty="0"/>
              <a:t> API</a:t>
            </a:r>
          </a:p>
          <a:p>
            <a:endParaRPr lang="de-DE" dirty="0"/>
          </a:p>
        </p:txBody>
      </p:sp>
      <p:grpSp>
        <p:nvGrpSpPr>
          <p:cNvPr id="5" name="Group 75">
            <a:extLst>
              <a:ext uri="{FF2B5EF4-FFF2-40B4-BE49-F238E27FC236}">
                <a16:creationId xmlns:a16="http://schemas.microsoft.com/office/drawing/2014/main" id="{F16FAE92-22B3-65F4-D099-92E4DA3BB39C}"/>
              </a:ext>
            </a:extLst>
          </p:cNvPr>
          <p:cNvGrpSpPr/>
          <p:nvPr/>
        </p:nvGrpSpPr>
        <p:grpSpPr>
          <a:xfrm>
            <a:off x="183081" y="2191041"/>
            <a:ext cx="2016868" cy="1321097"/>
            <a:chOff x="2277610" y="982801"/>
            <a:chExt cx="1217455" cy="797462"/>
          </a:xfrm>
        </p:grpSpPr>
        <p:sp>
          <p:nvSpPr>
            <p:cNvPr id="6" name="Textfeld 30">
              <a:extLst>
                <a:ext uri="{FF2B5EF4-FFF2-40B4-BE49-F238E27FC236}">
                  <a16:creationId xmlns:a16="http://schemas.microsoft.com/office/drawing/2014/main" id="{6E4F46B4-E3BA-9AA9-AC60-90C75FB1C0E7}"/>
                </a:ext>
              </a:extLst>
            </p:cNvPr>
            <p:cNvSpPr txBox="1"/>
            <p:nvPr/>
          </p:nvSpPr>
          <p:spPr>
            <a:xfrm>
              <a:off x="2277610" y="1503264"/>
              <a:ext cx="1217455" cy="276999"/>
            </a:xfrm>
            <a:prstGeom prst="rect">
              <a:avLst/>
            </a:prstGeom>
            <a:noFill/>
          </p:spPr>
          <p:txBody>
            <a:bodyPr wrap="square" rtlCol="0">
              <a:spAutoFit/>
            </a:bodyPr>
            <a:lstStyle/>
            <a:p>
              <a:pPr algn="ctr" defTabSz="1219170">
                <a:spcAft>
                  <a:spcPts val="800"/>
                </a:spcAft>
                <a:defRPr/>
              </a:pPr>
              <a:r>
                <a:rPr lang="de-DE" sz="1200" b="1">
                  <a:latin typeface="Montserrat" panose="00000500000000000000" pitchFamily="2" charset="0"/>
                </a:rPr>
                <a:t>Dataverse </a:t>
              </a:r>
              <a:endParaRPr lang="de-DE" sz="1200">
                <a:latin typeface="Montserrat" panose="00000500000000000000" pitchFamily="2" charset="0"/>
              </a:endParaRPr>
            </a:p>
          </p:txBody>
        </p:sp>
        <p:pic>
          <p:nvPicPr>
            <p:cNvPr id="7" name="Picture 4" descr="Chart&#10;&#10;Description automatically generated with low confidence">
              <a:extLst>
                <a:ext uri="{FF2B5EF4-FFF2-40B4-BE49-F238E27FC236}">
                  <a16:creationId xmlns:a16="http://schemas.microsoft.com/office/drawing/2014/main" id="{3E1CFE93-0D40-D3B9-EF74-B1BED00C0C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0240" y="982801"/>
              <a:ext cx="612196" cy="470454"/>
            </a:xfrm>
            <a:prstGeom prst="rect">
              <a:avLst/>
            </a:prstGeom>
          </p:spPr>
        </p:pic>
      </p:grpSp>
      <p:sp>
        <p:nvSpPr>
          <p:cNvPr id="8" name="Rechteck 7">
            <a:extLst>
              <a:ext uri="{FF2B5EF4-FFF2-40B4-BE49-F238E27FC236}">
                <a16:creationId xmlns:a16="http://schemas.microsoft.com/office/drawing/2014/main" id="{BC5C4E07-6A2F-264D-31F7-C2227939505E}"/>
              </a:ext>
            </a:extLst>
          </p:cNvPr>
          <p:cNvSpPr/>
          <p:nvPr/>
        </p:nvSpPr>
        <p:spPr>
          <a:xfrm>
            <a:off x="348721" y="2014541"/>
            <a:ext cx="1816875" cy="1896270"/>
          </a:xfrm>
          <a:prstGeom prst="rect">
            <a:avLst/>
          </a:prstGeom>
          <a:noFill/>
          <a:ln w="571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7ED59B56-01CB-6CF9-00BE-492BC94BA6F5}"/>
              </a:ext>
            </a:extLst>
          </p:cNvPr>
          <p:cNvSpPr txBox="1"/>
          <p:nvPr/>
        </p:nvSpPr>
        <p:spPr>
          <a:xfrm>
            <a:off x="439871" y="3389711"/>
            <a:ext cx="1600117" cy="369332"/>
          </a:xfrm>
          <a:prstGeom prst="rect">
            <a:avLst/>
          </a:prstGeom>
        </p:spPr>
        <p:txBody>
          <a:bodyPr wrap="none" rtlCol="0">
            <a:spAutoFit/>
          </a:bodyPr>
          <a:lstStyle/>
          <a:p>
            <a:pPr marL="0" indent="0" algn="ctr">
              <a:lnSpc>
                <a:spcPct val="100000"/>
              </a:lnSpc>
              <a:spcBef>
                <a:spcPts val="0"/>
              </a:spcBef>
              <a:buFontTx/>
              <a:buNone/>
            </a:pPr>
            <a:r>
              <a:rPr lang="de-DE">
                <a:solidFill>
                  <a:schemeClr val="accent4">
                    <a:lumMod val="75000"/>
                  </a:schemeClr>
                </a:solidFill>
                <a:latin typeface="Posterama" panose="020B0504020200020000" pitchFamily="34" charset="0"/>
                <a:ea typeface="微软雅黑"/>
                <a:cs typeface="Posterama" panose="020B0504020200020000" pitchFamily="34" charset="0"/>
              </a:rPr>
              <a:t>M365 </a:t>
            </a:r>
            <a:r>
              <a:rPr lang="de-DE" err="1">
                <a:solidFill>
                  <a:schemeClr val="accent4">
                    <a:lumMod val="75000"/>
                  </a:schemeClr>
                </a:solidFill>
                <a:latin typeface="Posterama" panose="020B0504020200020000" pitchFamily="34" charset="0"/>
                <a:ea typeface="微软雅黑"/>
                <a:cs typeface="Posterama" panose="020B0504020200020000" pitchFamily="34" charset="0"/>
              </a:rPr>
              <a:t>Tenant</a:t>
            </a:r>
            <a:endParaRPr lang="de-DE">
              <a:solidFill>
                <a:schemeClr val="accent4">
                  <a:lumMod val="75000"/>
                </a:schemeClr>
              </a:solidFill>
              <a:latin typeface="Posterama" panose="020B0504020200020000" pitchFamily="34" charset="0"/>
              <a:ea typeface="微软雅黑"/>
              <a:cs typeface="Posterama" panose="020B0504020200020000" pitchFamily="34" charset="0"/>
            </a:endParaRPr>
          </a:p>
        </p:txBody>
      </p:sp>
      <p:pic>
        <p:nvPicPr>
          <p:cNvPr id="10" name="Grafik 9" descr="Gruppe von Personen mit einfarbiger Füllung">
            <a:extLst>
              <a:ext uri="{FF2B5EF4-FFF2-40B4-BE49-F238E27FC236}">
                <a16:creationId xmlns:a16="http://schemas.microsoft.com/office/drawing/2014/main" id="{B13D7F57-3682-6DBC-55E4-1D25A47BBD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14160" y="2184868"/>
            <a:ext cx="1059190" cy="1059190"/>
          </a:xfrm>
          <a:prstGeom prst="rect">
            <a:avLst/>
          </a:prstGeom>
        </p:spPr>
      </p:pic>
      <p:sp>
        <p:nvSpPr>
          <p:cNvPr id="11" name="Textfeld 10">
            <a:extLst>
              <a:ext uri="{FF2B5EF4-FFF2-40B4-BE49-F238E27FC236}">
                <a16:creationId xmlns:a16="http://schemas.microsoft.com/office/drawing/2014/main" id="{0D2DBFB1-A88C-B68A-B4CD-A585BA7C047D}"/>
              </a:ext>
            </a:extLst>
          </p:cNvPr>
          <p:cNvSpPr txBox="1"/>
          <p:nvPr/>
        </p:nvSpPr>
        <p:spPr>
          <a:xfrm>
            <a:off x="9374529" y="3333061"/>
            <a:ext cx="1552028" cy="338554"/>
          </a:xfrm>
          <a:prstGeom prst="rect">
            <a:avLst/>
          </a:prstGeom>
        </p:spPr>
        <p:txBody>
          <a:bodyPr wrap="none" rtlCol="0">
            <a:spAutoFit/>
          </a:bodyPr>
          <a:lstStyle/>
          <a:p>
            <a:pPr marL="0" indent="0" algn="ctr">
              <a:lnSpc>
                <a:spcPct val="100000"/>
              </a:lnSpc>
              <a:spcBef>
                <a:spcPts val="0"/>
              </a:spcBef>
              <a:buFontTx/>
              <a:buNone/>
            </a:pPr>
            <a:r>
              <a:rPr lang="de-DE" sz="1600">
                <a:solidFill>
                  <a:schemeClr val="accent4">
                    <a:lumMod val="75000"/>
                  </a:schemeClr>
                </a:solidFill>
                <a:latin typeface="Posterama" panose="020B0504020200020000" pitchFamily="34" charset="0"/>
                <a:ea typeface="微软雅黑"/>
                <a:cs typeface="Posterama" panose="020B0504020200020000" pitchFamily="34" charset="0"/>
              </a:rPr>
              <a:t>External Users</a:t>
            </a:r>
          </a:p>
        </p:txBody>
      </p:sp>
      <p:sp>
        <p:nvSpPr>
          <p:cNvPr id="12" name="Rechteck 11">
            <a:extLst>
              <a:ext uri="{FF2B5EF4-FFF2-40B4-BE49-F238E27FC236}">
                <a16:creationId xmlns:a16="http://schemas.microsoft.com/office/drawing/2014/main" id="{EFEFCA4D-20CC-804E-8C19-ACA8C34A4C60}"/>
              </a:ext>
            </a:extLst>
          </p:cNvPr>
          <p:cNvSpPr/>
          <p:nvPr/>
        </p:nvSpPr>
        <p:spPr>
          <a:xfrm>
            <a:off x="3253002" y="2018272"/>
            <a:ext cx="4680293" cy="1982223"/>
          </a:xfrm>
          <a:prstGeom prst="rect">
            <a:avLst/>
          </a:prstGeom>
          <a:noFill/>
          <a:ln w="57150">
            <a:solidFill>
              <a:schemeClr val="accent6">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6">
                  <a:lumMod val="75000"/>
                  <a:lumOff val="25000"/>
                </a:schemeClr>
              </a:solidFill>
            </a:endParaRPr>
          </a:p>
        </p:txBody>
      </p:sp>
      <p:sp>
        <p:nvSpPr>
          <p:cNvPr id="13" name="Textfeld 12">
            <a:extLst>
              <a:ext uri="{FF2B5EF4-FFF2-40B4-BE49-F238E27FC236}">
                <a16:creationId xmlns:a16="http://schemas.microsoft.com/office/drawing/2014/main" id="{B2471435-414F-8333-DE4B-C11AB97C0B74}"/>
              </a:ext>
            </a:extLst>
          </p:cNvPr>
          <p:cNvSpPr txBox="1"/>
          <p:nvPr/>
        </p:nvSpPr>
        <p:spPr>
          <a:xfrm>
            <a:off x="3338659" y="3574377"/>
            <a:ext cx="811440" cy="369332"/>
          </a:xfrm>
          <a:prstGeom prst="rect">
            <a:avLst/>
          </a:prstGeom>
        </p:spPr>
        <p:txBody>
          <a:bodyPr wrap="none" rtlCol="0">
            <a:spAutoFit/>
          </a:bodyPr>
          <a:lstStyle/>
          <a:p>
            <a:pPr marL="0" indent="0" algn="ctr">
              <a:lnSpc>
                <a:spcPct val="100000"/>
              </a:lnSpc>
              <a:spcBef>
                <a:spcPts val="0"/>
              </a:spcBef>
              <a:buFontTx/>
              <a:buNone/>
            </a:pPr>
            <a:r>
              <a:rPr lang="de-DE">
                <a:solidFill>
                  <a:schemeClr val="accent6">
                    <a:lumMod val="75000"/>
                    <a:lumOff val="25000"/>
                  </a:schemeClr>
                </a:solidFill>
                <a:latin typeface="Posterama" panose="020B0504020200020000" pitchFamily="34" charset="0"/>
                <a:ea typeface="微软雅黑"/>
                <a:cs typeface="Posterama" panose="020B0504020200020000" pitchFamily="34" charset="0"/>
              </a:rPr>
              <a:t>Azure</a:t>
            </a:r>
          </a:p>
        </p:txBody>
      </p:sp>
      <p:pic>
        <p:nvPicPr>
          <p:cNvPr id="14" name="Picture 4" descr="Static Web Apps pricing - Microsoft Azure">
            <a:extLst>
              <a:ext uri="{FF2B5EF4-FFF2-40B4-BE49-F238E27FC236}">
                <a16:creationId xmlns:a16="http://schemas.microsoft.com/office/drawing/2014/main" id="{68EFA8C8-0D32-5120-229A-824829732C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31035" y="2230455"/>
            <a:ext cx="1116046" cy="585924"/>
          </a:xfrm>
          <a:prstGeom prst="rect">
            <a:avLst/>
          </a:prstGeom>
          <a:noFill/>
          <a:extLst>
            <a:ext uri="{909E8E84-426E-40DD-AFC4-6F175D3DCCD1}">
              <a14:hiddenFill xmlns:a14="http://schemas.microsoft.com/office/drawing/2010/main">
                <a:solidFill>
                  <a:srgbClr val="FFFFFF"/>
                </a:solidFill>
              </a14:hiddenFill>
            </a:ext>
          </a:extLst>
        </p:spPr>
      </p:pic>
      <p:sp>
        <p:nvSpPr>
          <p:cNvPr id="15" name="Textfeld 14">
            <a:extLst>
              <a:ext uri="{FF2B5EF4-FFF2-40B4-BE49-F238E27FC236}">
                <a16:creationId xmlns:a16="http://schemas.microsoft.com/office/drawing/2014/main" id="{A615F4DF-6BA9-6428-D024-6B89149561B2}"/>
              </a:ext>
            </a:extLst>
          </p:cNvPr>
          <p:cNvSpPr txBox="1"/>
          <p:nvPr/>
        </p:nvSpPr>
        <p:spPr>
          <a:xfrm>
            <a:off x="6096000" y="2958740"/>
            <a:ext cx="1814920" cy="369332"/>
          </a:xfrm>
          <a:prstGeom prst="rect">
            <a:avLst/>
          </a:prstGeom>
        </p:spPr>
        <p:txBody>
          <a:bodyPr wrap="none" rtlCol="0">
            <a:spAutoFit/>
          </a:bodyPr>
          <a:lstStyle/>
          <a:p>
            <a:pPr marL="0" indent="0" algn="ctr">
              <a:lnSpc>
                <a:spcPct val="100000"/>
              </a:lnSpc>
              <a:spcBef>
                <a:spcPts val="0"/>
              </a:spcBef>
              <a:buFontTx/>
              <a:buNone/>
            </a:pPr>
            <a:r>
              <a:rPr lang="de-DE">
                <a:solidFill>
                  <a:schemeClr val="accent6">
                    <a:lumMod val="75000"/>
                    <a:lumOff val="25000"/>
                  </a:schemeClr>
                </a:solidFill>
                <a:latin typeface="Posterama" panose="020B0504020200020000" pitchFamily="34" charset="0"/>
                <a:ea typeface="微软雅黑"/>
                <a:cs typeface="Posterama" panose="020B0504020200020000" pitchFamily="34" charset="0"/>
              </a:rPr>
              <a:t>Static Web App</a:t>
            </a:r>
          </a:p>
        </p:txBody>
      </p:sp>
      <p:pic>
        <p:nvPicPr>
          <p:cNvPr id="16" name="Picture 2" descr="Beginner's guide to Azure Functions — Part 1 | by Nikhil Khandelwal |  ashsoftware | Medium">
            <a:extLst>
              <a:ext uri="{FF2B5EF4-FFF2-40B4-BE49-F238E27FC236}">
                <a16:creationId xmlns:a16="http://schemas.microsoft.com/office/drawing/2014/main" id="{DDFE837F-ABA1-FD74-668A-5B23AD521534}"/>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43059" y="2205725"/>
            <a:ext cx="2229721" cy="953778"/>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Gerade Verbindung mit Pfeil 16">
            <a:extLst>
              <a:ext uri="{FF2B5EF4-FFF2-40B4-BE49-F238E27FC236}">
                <a16:creationId xmlns:a16="http://schemas.microsoft.com/office/drawing/2014/main" id="{41C38182-E5CF-D640-6DC0-2A9B34113F9A}"/>
              </a:ext>
            </a:extLst>
          </p:cNvPr>
          <p:cNvCxnSpPr/>
          <p:nvPr/>
        </p:nvCxnSpPr>
        <p:spPr>
          <a:xfrm flipH="1">
            <a:off x="1822028" y="2596031"/>
            <a:ext cx="1677312" cy="0"/>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Gerade Verbindung mit Pfeil 18">
            <a:extLst>
              <a:ext uri="{FF2B5EF4-FFF2-40B4-BE49-F238E27FC236}">
                <a16:creationId xmlns:a16="http://schemas.microsoft.com/office/drawing/2014/main" id="{BEC6040B-BC3E-FBBB-3DCA-828792E9148B}"/>
              </a:ext>
            </a:extLst>
          </p:cNvPr>
          <p:cNvCxnSpPr>
            <a:cxnSpLocks/>
          </p:cNvCxnSpPr>
          <p:nvPr/>
        </p:nvCxnSpPr>
        <p:spPr>
          <a:xfrm flipH="1">
            <a:off x="8209171" y="2869565"/>
            <a:ext cx="108220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E9C35AF1-EB6A-C21E-2829-2E4B48FBE8CA}"/>
              </a:ext>
            </a:extLst>
          </p:cNvPr>
          <p:cNvSpPr txBox="1"/>
          <p:nvPr/>
        </p:nvSpPr>
        <p:spPr>
          <a:xfrm>
            <a:off x="2087179" y="2185148"/>
            <a:ext cx="1167307" cy="369332"/>
          </a:xfrm>
          <a:prstGeom prst="rect">
            <a:avLst/>
          </a:prstGeom>
        </p:spPr>
        <p:txBody>
          <a:bodyPr wrap="none" rtlCol="0">
            <a:spAutoFit/>
          </a:bodyPr>
          <a:lstStyle/>
          <a:p>
            <a:pPr marL="0" indent="0" algn="ctr">
              <a:lnSpc>
                <a:spcPct val="100000"/>
              </a:lnSpc>
              <a:spcBef>
                <a:spcPts val="0"/>
              </a:spcBef>
              <a:buFontTx/>
              <a:buNone/>
            </a:pPr>
            <a:r>
              <a:rPr lang="de-DE" sz="1800" b="1" err="1">
                <a:solidFill>
                  <a:srgbClr val="FFC000"/>
                </a:solidFill>
                <a:latin typeface="Posterama" panose="020B0504020200020000" pitchFamily="34" charset="0"/>
                <a:ea typeface="微软雅黑"/>
                <a:cs typeface="Posterama" panose="020B0504020200020000" pitchFamily="34" charset="0"/>
              </a:rPr>
              <a:t>Get</a:t>
            </a:r>
            <a:r>
              <a:rPr lang="de-DE" sz="1800" b="1">
                <a:solidFill>
                  <a:srgbClr val="FFC000"/>
                </a:solidFill>
                <a:latin typeface="Posterama" panose="020B0504020200020000" pitchFamily="34" charset="0"/>
                <a:ea typeface="微软雅黑"/>
                <a:cs typeface="Posterama" panose="020B0504020200020000" pitchFamily="34" charset="0"/>
              </a:rPr>
              <a:t> Data</a:t>
            </a:r>
          </a:p>
        </p:txBody>
      </p:sp>
      <p:sp>
        <p:nvSpPr>
          <p:cNvPr id="22" name="Textfeld 21">
            <a:extLst>
              <a:ext uri="{FF2B5EF4-FFF2-40B4-BE49-F238E27FC236}">
                <a16:creationId xmlns:a16="http://schemas.microsoft.com/office/drawing/2014/main" id="{11EED1F2-BB1C-0AA3-E5AC-970813305282}"/>
              </a:ext>
            </a:extLst>
          </p:cNvPr>
          <p:cNvSpPr txBox="1"/>
          <p:nvPr/>
        </p:nvSpPr>
        <p:spPr>
          <a:xfrm>
            <a:off x="8239978" y="2296817"/>
            <a:ext cx="1085555" cy="369332"/>
          </a:xfrm>
          <a:prstGeom prst="rect">
            <a:avLst/>
          </a:prstGeom>
        </p:spPr>
        <p:txBody>
          <a:bodyPr wrap="none" rtlCol="0">
            <a:spAutoFit/>
          </a:bodyPr>
          <a:lstStyle/>
          <a:p>
            <a:pPr marL="0" indent="0" algn="ctr">
              <a:lnSpc>
                <a:spcPct val="100000"/>
              </a:lnSpc>
              <a:spcBef>
                <a:spcPts val="0"/>
              </a:spcBef>
              <a:buFontTx/>
              <a:buNone/>
            </a:pPr>
            <a:r>
              <a:rPr lang="en-US" b="1">
                <a:solidFill>
                  <a:srgbClr val="00B050"/>
                </a:solidFill>
              </a:rPr>
              <a:t>Consume</a:t>
            </a:r>
          </a:p>
        </p:txBody>
      </p:sp>
      <p:sp>
        <p:nvSpPr>
          <p:cNvPr id="2" name="Rechteck 1">
            <a:extLst>
              <a:ext uri="{FF2B5EF4-FFF2-40B4-BE49-F238E27FC236}">
                <a16:creationId xmlns:a16="http://schemas.microsoft.com/office/drawing/2014/main" id="{356F8E50-3DE1-86F1-FF31-7EC4D6F0F525}"/>
              </a:ext>
            </a:extLst>
          </p:cNvPr>
          <p:cNvSpPr/>
          <p:nvPr/>
        </p:nvSpPr>
        <p:spPr>
          <a:xfrm>
            <a:off x="3522924" y="4624754"/>
            <a:ext cx="4319814" cy="1574764"/>
          </a:xfrm>
          <a:prstGeom prst="rect">
            <a:avLst/>
          </a:prstGeom>
          <a:noFill/>
          <a:ln w="571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A8E8A19D-D1E4-7882-1415-ECE8C8E1AD83}"/>
              </a:ext>
            </a:extLst>
          </p:cNvPr>
          <p:cNvSpPr txBox="1"/>
          <p:nvPr/>
        </p:nvSpPr>
        <p:spPr>
          <a:xfrm>
            <a:off x="7951217" y="5742352"/>
            <a:ext cx="2077813" cy="369332"/>
          </a:xfrm>
          <a:prstGeom prst="rect">
            <a:avLst/>
          </a:prstGeom>
        </p:spPr>
        <p:txBody>
          <a:bodyPr wrap="none" rtlCol="0">
            <a:spAutoFit/>
          </a:bodyPr>
          <a:lstStyle/>
          <a:p>
            <a:pPr marL="0" indent="0" algn="ctr">
              <a:lnSpc>
                <a:spcPct val="100000"/>
              </a:lnSpc>
              <a:spcBef>
                <a:spcPts val="0"/>
              </a:spcBef>
              <a:buFontTx/>
              <a:buNone/>
            </a:pPr>
            <a:r>
              <a:rPr lang="de-DE">
                <a:solidFill>
                  <a:schemeClr val="accent4">
                    <a:lumMod val="75000"/>
                  </a:schemeClr>
                </a:solidFill>
                <a:latin typeface="Posterama" panose="020B0504020200020000" pitchFamily="34" charset="0"/>
                <a:ea typeface="微软雅黑"/>
                <a:cs typeface="Posterama" panose="020B0504020200020000" pitchFamily="34" charset="0"/>
              </a:rPr>
              <a:t>Workshop </a:t>
            </a:r>
            <a:r>
              <a:rPr lang="de-DE" err="1">
                <a:solidFill>
                  <a:schemeClr val="accent4">
                    <a:lumMod val="75000"/>
                  </a:schemeClr>
                </a:solidFill>
                <a:latin typeface="Posterama" panose="020B0504020200020000" pitchFamily="34" charset="0"/>
                <a:ea typeface="微软雅黑"/>
                <a:cs typeface="Posterama" panose="020B0504020200020000" pitchFamily="34" charset="0"/>
              </a:rPr>
              <a:t>Tenant</a:t>
            </a:r>
            <a:endParaRPr lang="de-DE">
              <a:solidFill>
                <a:schemeClr val="accent4">
                  <a:lumMod val="75000"/>
                </a:schemeClr>
              </a:solidFill>
              <a:latin typeface="Posterama" panose="020B0504020200020000" pitchFamily="34" charset="0"/>
              <a:ea typeface="微软雅黑"/>
              <a:cs typeface="Posterama" panose="020B0504020200020000" pitchFamily="34" charset="0"/>
            </a:endParaRPr>
          </a:p>
        </p:txBody>
      </p:sp>
      <p:pic>
        <p:nvPicPr>
          <p:cNvPr id="25" name="Grafik 24">
            <a:extLst>
              <a:ext uri="{FF2B5EF4-FFF2-40B4-BE49-F238E27FC236}">
                <a16:creationId xmlns:a16="http://schemas.microsoft.com/office/drawing/2014/main" id="{32C7E6A2-7863-FE15-585F-9200A8914EE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82276" y="4909770"/>
            <a:ext cx="708111" cy="708111"/>
          </a:xfrm>
          <a:prstGeom prst="rect">
            <a:avLst/>
          </a:prstGeom>
          <a:effectLst>
            <a:outerShdw blurRad="63500" sx="102000" sy="102000" algn="ctr" rotWithShape="0">
              <a:prstClr val="black">
                <a:alpha val="40000"/>
              </a:prstClr>
            </a:outerShdw>
          </a:effectLst>
        </p:spPr>
      </p:pic>
      <p:pic>
        <p:nvPicPr>
          <p:cNvPr id="26" name="Grafik 25">
            <a:extLst>
              <a:ext uri="{FF2B5EF4-FFF2-40B4-BE49-F238E27FC236}">
                <a16:creationId xmlns:a16="http://schemas.microsoft.com/office/drawing/2014/main" id="{3BA8F4A3-8831-A117-A8FC-C62DF9C84B1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72079" y="4964620"/>
            <a:ext cx="628675" cy="628675"/>
          </a:xfrm>
          <a:prstGeom prst="rect">
            <a:avLst/>
          </a:prstGeom>
          <a:effectLst>
            <a:outerShdw blurRad="63500" sx="102000" sy="102000" algn="ctr" rotWithShape="0">
              <a:prstClr val="black">
                <a:alpha val="40000"/>
              </a:prstClr>
            </a:outerShdw>
          </a:effectLst>
        </p:spPr>
      </p:pic>
      <p:pic>
        <p:nvPicPr>
          <p:cNvPr id="27" name="Grafik 26">
            <a:extLst>
              <a:ext uri="{FF2B5EF4-FFF2-40B4-BE49-F238E27FC236}">
                <a16:creationId xmlns:a16="http://schemas.microsoft.com/office/drawing/2014/main" id="{0425141B-5803-E4BC-1B7B-5F277A27794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49909" y="4455503"/>
            <a:ext cx="980016" cy="980016"/>
          </a:xfrm>
          <a:prstGeom prst="rect">
            <a:avLst/>
          </a:prstGeom>
          <a:effectLst>
            <a:outerShdw blurRad="63500" sx="102000" sy="102000" algn="ctr" rotWithShape="0">
              <a:prstClr val="black">
                <a:alpha val="40000"/>
              </a:prstClr>
            </a:outerShdw>
          </a:effectLst>
        </p:spPr>
      </p:pic>
      <p:sp>
        <p:nvSpPr>
          <p:cNvPr id="28" name="Textfeld 27">
            <a:extLst>
              <a:ext uri="{FF2B5EF4-FFF2-40B4-BE49-F238E27FC236}">
                <a16:creationId xmlns:a16="http://schemas.microsoft.com/office/drawing/2014/main" id="{2DC4DF8F-5F63-B52D-0904-7708F6101172}"/>
              </a:ext>
            </a:extLst>
          </p:cNvPr>
          <p:cNvSpPr txBox="1"/>
          <p:nvPr/>
        </p:nvSpPr>
        <p:spPr>
          <a:xfrm>
            <a:off x="4437139" y="5577880"/>
            <a:ext cx="2212465" cy="369332"/>
          </a:xfrm>
          <a:prstGeom prst="rect">
            <a:avLst/>
          </a:prstGeom>
        </p:spPr>
        <p:txBody>
          <a:bodyPr wrap="none" rtlCol="0">
            <a:spAutoFit/>
          </a:bodyPr>
          <a:lstStyle/>
          <a:p>
            <a:pPr marL="0" indent="0" algn="ctr">
              <a:lnSpc>
                <a:spcPct val="100000"/>
              </a:lnSpc>
              <a:spcBef>
                <a:spcPts val="0"/>
              </a:spcBef>
              <a:buFontTx/>
              <a:buNone/>
            </a:pPr>
            <a:r>
              <a:rPr lang="de-DE">
                <a:solidFill>
                  <a:schemeClr val="accent4">
                    <a:lumMod val="75000"/>
                  </a:schemeClr>
                </a:solidFill>
                <a:latin typeface="Posterama" panose="020B0504020200020000" pitchFamily="34" charset="0"/>
                <a:ea typeface="微软雅黑"/>
                <a:cs typeface="Posterama" panose="020B0504020200020000" pitchFamily="34" charset="0"/>
              </a:rPr>
              <a:t>Custom Connector</a:t>
            </a:r>
          </a:p>
        </p:txBody>
      </p:sp>
      <p:pic>
        <p:nvPicPr>
          <p:cNvPr id="18" name="Picture 2" descr="API Gateway Logo">
            <a:extLst>
              <a:ext uri="{FF2B5EF4-FFF2-40B4-BE49-F238E27FC236}">
                <a16:creationId xmlns:a16="http://schemas.microsoft.com/office/drawing/2014/main" id="{6D52F936-753E-3A00-D7FD-E490392B9252}"/>
              </a:ext>
            </a:extLst>
          </p:cNvPr>
          <p:cNvPicPr>
            <a:picLocks noChangeAspect="1" noChangeArrowheads="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38672" y="2820176"/>
            <a:ext cx="1631595" cy="815798"/>
          </a:xfrm>
          <a:prstGeom prst="rect">
            <a:avLst/>
          </a:prstGeom>
          <a:noFill/>
          <a:extLst>
            <a:ext uri="{909E8E84-426E-40DD-AFC4-6F175D3DCCD1}">
              <a14:hiddenFill xmlns:a14="http://schemas.microsoft.com/office/drawing/2010/main">
                <a:solidFill>
                  <a:srgbClr val="FFFFFF"/>
                </a:solidFill>
              </a14:hiddenFill>
            </a:ext>
          </a:extLst>
        </p:spPr>
      </p:pic>
      <p:sp>
        <p:nvSpPr>
          <p:cNvPr id="21" name="Textfeld 20">
            <a:extLst>
              <a:ext uri="{FF2B5EF4-FFF2-40B4-BE49-F238E27FC236}">
                <a16:creationId xmlns:a16="http://schemas.microsoft.com/office/drawing/2014/main" id="{C164F9C2-66D7-2426-4156-14A30257B018}"/>
              </a:ext>
            </a:extLst>
          </p:cNvPr>
          <p:cNvSpPr txBox="1"/>
          <p:nvPr/>
        </p:nvSpPr>
        <p:spPr>
          <a:xfrm>
            <a:off x="5348113" y="3565008"/>
            <a:ext cx="1600118" cy="307777"/>
          </a:xfrm>
          <a:prstGeom prst="rect">
            <a:avLst/>
          </a:prstGeom>
        </p:spPr>
        <p:txBody>
          <a:bodyPr wrap="none" rtlCol="0">
            <a:spAutoFit/>
          </a:bodyPr>
          <a:lstStyle/>
          <a:p>
            <a:pPr marL="0" indent="0" algn="ctr">
              <a:lnSpc>
                <a:spcPct val="100000"/>
              </a:lnSpc>
              <a:spcBef>
                <a:spcPts val="0"/>
              </a:spcBef>
              <a:buFontTx/>
              <a:buNone/>
            </a:pPr>
            <a:r>
              <a:rPr lang="de-DE" sz="1400">
                <a:solidFill>
                  <a:schemeClr val="accent6">
                    <a:lumMod val="75000"/>
                    <a:lumOff val="25000"/>
                  </a:schemeClr>
                </a:solidFill>
                <a:latin typeface="Posterama" panose="020B0504020200020000" pitchFamily="34" charset="0"/>
                <a:ea typeface="微软雅黑"/>
                <a:cs typeface="Posterama" panose="020B0504020200020000" pitchFamily="34" charset="0"/>
              </a:rPr>
              <a:t>API Management</a:t>
            </a:r>
          </a:p>
        </p:txBody>
      </p:sp>
    </p:spTree>
    <p:extLst>
      <p:ext uri="{BB962C8B-B14F-4D97-AF65-F5344CB8AC3E}">
        <p14:creationId xmlns:p14="http://schemas.microsoft.com/office/powerpoint/2010/main" val="15547770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31921" y="240378"/>
            <a:ext cx="10728157" cy="725738"/>
          </a:xfrm>
        </p:spPr>
        <p:txBody>
          <a:bodyPr wrap="square" anchor="t">
            <a:normAutofit/>
          </a:bodyPr>
          <a:lstStyle/>
          <a:p>
            <a:r>
              <a:rPr lang="en-US" b="1" noProof="1">
                <a:latin typeface="Segoe UI Semibold" panose="020B0502040204020203" pitchFamily="34" charset="0"/>
                <a:ea typeface="Segoe UI Semibold" panose="020B0502040204020203" pitchFamily="34" charset="0"/>
                <a:cs typeface="Segoe UI Semibold" panose="020B0502040204020203" pitchFamily="34" charset="0"/>
              </a:rPr>
              <a:t>Ways to create a new custom connector</a:t>
            </a:r>
          </a:p>
        </p:txBody>
      </p:sp>
      <p:graphicFrame>
        <p:nvGraphicFramePr>
          <p:cNvPr id="27" name="Content Placeholder 1">
            <a:extLst>
              <a:ext uri="{FF2B5EF4-FFF2-40B4-BE49-F238E27FC236}">
                <a16:creationId xmlns:a16="http://schemas.microsoft.com/office/drawing/2014/main" id="{22FC70E7-3951-456E-9504-4C9CD36FF99D}"/>
              </a:ext>
            </a:extLst>
          </p:cNvPr>
          <p:cNvGraphicFramePr>
            <a:graphicFrameLocks noGrp="1"/>
          </p:cNvGraphicFramePr>
          <p:nvPr>
            <p:ph sz="quarter" idx="4294967295"/>
            <p:extLst>
              <p:ext uri="{D42A27DB-BD31-4B8C-83A1-F6EECF244321}">
                <p14:modId xmlns:p14="http://schemas.microsoft.com/office/powerpoint/2010/main" val="3370940638"/>
              </p:ext>
            </p:extLst>
          </p:nvPr>
        </p:nvGraphicFramePr>
        <p:xfrm>
          <a:off x="731921" y="112804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extfeld 1">
            <a:extLst>
              <a:ext uri="{FF2B5EF4-FFF2-40B4-BE49-F238E27FC236}">
                <a16:creationId xmlns:a16="http://schemas.microsoft.com/office/drawing/2014/main" id="{98F8F5A3-15A1-F0EB-9180-15A7CD7804DD}"/>
              </a:ext>
            </a:extLst>
          </p:cNvPr>
          <p:cNvSpPr txBox="1"/>
          <p:nvPr/>
        </p:nvSpPr>
        <p:spPr>
          <a:xfrm>
            <a:off x="5936967" y="1250524"/>
            <a:ext cx="1780905" cy="501162"/>
          </a:xfrm>
          <a:prstGeom prst="rect">
            <a:avLst/>
          </a:prstGeom>
        </p:spPr>
        <p:txBody>
          <a:bodyPr vert="horz" wrap="square" lIns="91440" tIns="45720" rIns="91440" bIns="45720" rtlCol="0">
            <a:normAutofit lnSpcReduction="10000"/>
          </a:bodyPr>
          <a:lstStyle/>
          <a:p>
            <a:pPr algn="l"/>
            <a:r>
              <a:rPr lang="de-DE" sz="2800" b="1" dirty="0">
                <a:solidFill>
                  <a:srgbClr val="FF0000"/>
                </a:solidFill>
              </a:rPr>
              <a:t>This Lab!</a:t>
            </a:r>
          </a:p>
        </p:txBody>
      </p:sp>
    </p:spTree>
    <p:custDataLst>
      <p:tags r:id="rId1"/>
    </p:custDataLst>
    <p:extLst>
      <p:ext uri="{BB962C8B-B14F-4D97-AF65-F5344CB8AC3E}">
        <p14:creationId xmlns:p14="http://schemas.microsoft.com/office/powerpoint/2010/main" val="17511699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
                                            <p:graphicEl>
                                              <a:dgm id="{0F544F2F-7B63-4213-B3D8-8A7273281936}"/>
                                            </p:graphicEl>
                                          </p:spTgt>
                                        </p:tgtEl>
                                        <p:attrNameLst>
                                          <p:attrName>style.visibility</p:attrName>
                                        </p:attrNameLst>
                                      </p:cBhvr>
                                      <p:to>
                                        <p:strVal val="visible"/>
                                      </p:to>
                                    </p:set>
                                    <p:animEffect transition="in" filter="fade">
                                      <p:cBhvr>
                                        <p:cTn id="7" dur="500"/>
                                        <p:tgtEl>
                                          <p:spTgt spid="27">
                                            <p:graphicEl>
                                              <a:dgm id="{0F544F2F-7B63-4213-B3D8-8A7273281936}"/>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graphicEl>
                                              <a:dgm id="{AB20D592-C47D-480E-9FCE-0B6AA553978A}"/>
                                            </p:graphicEl>
                                          </p:spTgt>
                                        </p:tgtEl>
                                        <p:attrNameLst>
                                          <p:attrName>style.visibility</p:attrName>
                                        </p:attrNameLst>
                                      </p:cBhvr>
                                      <p:to>
                                        <p:strVal val="visible"/>
                                      </p:to>
                                    </p:set>
                                    <p:animEffect transition="in" filter="fade">
                                      <p:cBhvr>
                                        <p:cTn id="10" dur="500"/>
                                        <p:tgtEl>
                                          <p:spTgt spid="27">
                                            <p:graphicEl>
                                              <a:dgm id="{AB20D592-C47D-480E-9FCE-0B6AA553978A}"/>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7">
                                            <p:graphicEl>
                                              <a:dgm id="{B892899B-6826-4880-BD30-CE5A016393F8}"/>
                                            </p:graphicEl>
                                          </p:spTgt>
                                        </p:tgtEl>
                                        <p:attrNameLst>
                                          <p:attrName>style.visibility</p:attrName>
                                        </p:attrNameLst>
                                      </p:cBhvr>
                                      <p:to>
                                        <p:strVal val="visible"/>
                                      </p:to>
                                    </p:set>
                                    <p:animEffect transition="in" filter="fade">
                                      <p:cBhvr>
                                        <p:cTn id="13" dur="500"/>
                                        <p:tgtEl>
                                          <p:spTgt spid="27">
                                            <p:graphicEl>
                                              <a:dgm id="{B892899B-6826-4880-BD30-CE5A016393F8}"/>
                                            </p:graphicEl>
                                          </p:spTgt>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27">
                                            <p:graphicEl>
                                              <a:dgm id="{78F5EC67-82DB-3A47-BE47-F2ADC99F3A08}"/>
                                            </p:graphicEl>
                                          </p:spTgt>
                                        </p:tgtEl>
                                        <p:attrNameLst>
                                          <p:attrName>style.visibility</p:attrName>
                                        </p:attrNameLst>
                                      </p:cBhvr>
                                      <p:to>
                                        <p:strVal val="visible"/>
                                      </p:to>
                                    </p:set>
                                    <p:animEffect transition="in" filter="fade">
                                      <p:cBhvr>
                                        <p:cTn id="17" dur="500"/>
                                        <p:tgtEl>
                                          <p:spTgt spid="27">
                                            <p:graphicEl>
                                              <a:dgm id="{78F5EC67-82DB-3A47-BE47-F2ADC99F3A08}"/>
                                            </p:graphic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7">
                                            <p:graphicEl>
                                              <a:dgm id="{4CDB3BC9-94A8-1942-A0D7-A6C018FBD8C0}"/>
                                            </p:graphicEl>
                                          </p:spTgt>
                                        </p:tgtEl>
                                        <p:attrNameLst>
                                          <p:attrName>style.visibility</p:attrName>
                                        </p:attrNameLst>
                                      </p:cBhvr>
                                      <p:to>
                                        <p:strVal val="visible"/>
                                      </p:to>
                                    </p:set>
                                    <p:animEffect transition="in" filter="fade">
                                      <p:cBhvr>
                                        <p:cTn id="20" dur="500"/>
                                        <p:tgtEl>
                                          <p:spTgt spid="27">
                                            <p:graphicEl>
                                              <a:dgm id="{4CDB3BC9-94A8-1942-A0D7-A6C018FBD8C0}"/>
                                            </p:graphic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7">
                                            <p:graphicEl>
                                              <a:dgm id="{79082CCF-919A-1445-A443-34F82F2607F2}"/>
                                            </p:graphicEl>
                                          </p:spTgt>
                                        </p:tgtEl>
                                        <p:attrNameLst>
                                          <p:attrName>style.visibility</p:attrName>
                                        </p:attrNameLst>
                                      </p:cBhvr>
                                      <p:to>
                                        <p:strVal val="visible"/>
                                      </p:to>
                                    </p:set>
                                    <p:animEffect transition="in" filter="fade">
                                      <p:cBhvr>
                                        <p:cTn id="23" dur="500"/>
                                        <p:tgtEl>
                                          <p:spTgt spid="27">
                                            <p:graphicEl>
                                              <a:dgm id="{79082CCF-919A-1445-A443-34F82F2607F2}"/>
                                            </p:graphicEl>
                                          </p:spTgt>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27">
                                            <p:graphicEl>
                                              <a:dgm id="{B4969633-86E4-AB41-BEEF-CAF2378C4FFC}"/>
                                            </p:graphicEl>
                                          </p:spTgt>
                                        </p:tgtEl>
                                        <p:attrNameLst>
                                          <p:attrName>style.visibility</p:attrName>
                                        </p:attrNameLst>
                                      </p:cBhvr>
                                      <p:to>
                                        <p:strVal val="visible"/>
                                      </p:to>
                                    </p:set>
                                    <p:animEffect transition="in" filter="fade">
                                      <p:cBhvr>
                                        <p:cTn id="27" dur="500"/>
                                        <p:tgtEl>
                                          <p:spTgt spid="27">
                                            <p:graphicEl>
                                              <a:dgm id="{B4969633-86E4-AB41-BEEF-CAF2378C4FFC}"/>
                                            </p:graphic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7">
                                            <p:graphicEl>
                                              <a:dgm id="{BAA21375-639A-3F41-8793-387ACBF9EA6B}"/>
                                            </p:graphicEl>
                                          </p:spTgt>
                                        </p:tgtEl>
                                        <p:attrNameLst>
                                          <p:attrName>style.visibility</p:attrName>
                                        </p:attrNameLst>
                                      </p:cBhvr>
                                      <p:to>
                                        <p:strVal val="visible"/>
                                      </p:to>
                                    </p:set>
                                    <p:animEffect transition="in" filter="fade">
                                      <p:cBhvr>
                                        <p:cTn id="30" dur="500"/>
                                        <p:tgtEl>
                                          <p:spTgt spid="27">
                                            <p:graphicEl>
                                              <a:dgm id="{BAA21375-639A-3F41-8793-387ACBF9EA6B}"/>
                                            </p:graphic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7">
                                            <p:graphicEl>
                                              <a:dgm id="{1464BE0B-40F6-8D46-B696-2F043B63C4F9}"/>
                                            </p:graphicEl>
                                          </p:spTgt>
                                        </p:tgtEl>
                                        <p:attrNameLst>
                                          <p:attrName>style.visibility</p:attrName>
                                        </p:attrNameLst>
                                      </p:cBhvr>
                                      <p:to>
                                        <p:strVal val="visible"/>
                                      </p:to>
                                    </p:set>
                                    <p:animEffect transition="in" filter="fade">
                                      <p:cBhvr>
                                        <p:cTn id="33" dur="500"/>
                                        <p:tgtEl>
                                          <p:spTgt spid="27">
                                            <p:graphicEl>
                                              <a:dgm id="{1464BE0B-40F6-8D46-B696-2F043B63C4F9}"/>
                                            </p:graphicEl>
                                          </p:spTgt>
                                        </p:tgtEl>
                                      </p:cBhvr>
                                    </p:animEffect>
                                  </p:childTnLst>
                                </p:cTn>
                              </p:par>
                            </p:childTnLst>
                          </p:cTn>
                        </p:par>
                        <p:par>
                          <p:cTn id="34" fill="hold">
                            <p:stCondLst>
                              <p:cond delay="1500"/>
                            </p:stCondLst>
                            <p:childTnLst>
                              <p:par>
                                <p:cTn id="35" presetID="10" presetClass="entr" presetSubtype="0" fill="hold" grpId="0" nodeType="afterEffect">
                                  <p:stCondLst>
                                    <p:cond delay="0"/>
                                  </p:stCondLst>
                                  <p:childTnLst>
                                    <p:set>
                                      <p:cBhvr>
                                        <p:cTn id="36" dur="1" fill="hold">
                                          <p:stCondLst>
                                            <p:cond delay="0"/>
                                          </p:stCondLst>
                                        </p:cTn>
                                        <p:tgtEl>
                                          <p:spTgt spid="27">
                                            <p:graphicEl>
                                              <a:dgm id="{66DDA7D1-85F3-464F-A13A-715D7A05735B}"/>
                                            </p:graphicEl>
                                          </p:spTgt>
                                        </p:tgtEl>
                                        <p:attrNameLst>
                                          <p:attrName>style.visibility</p:attrName>
                                        </p:attrNameLst>
                                      </p:cBhvr>
                                      <p:to>
                                        <p:strVal val="visible"/>
                                      </p:to>
                                    </p:set>
                                    <p:animEffect transition="in" filter="fade">
                                      <p:cBhvr>
                                        <p:cTn id="37" dur="500"/>
                                        <p:tgtEl>
                                          <p:spTgt spid="27">
                                            <p:graphicEl>
                                              <a:dgm id="{66DDA7D1-85F3-464F-A13A-715D7A05735B}"/>
                                            </p:graphic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7">
                                            <p:graphicEl>
                                              <a:dgm id="{9BEC0F33-85C8-F249-8219-2A26EF3935D7}"/>
                                            </p:graphicEl>
                                          </p:spTgt>
                                        </p:tgtEl>
                                        <p:attrNameLst>
                                          <p:attrName>style.visibility</p:attrName>
                                        </p:attrNameLst>
                                      </p:cBhvr>
                                      <p:to>
                                        <p:strVal val="visible"/>
                                      </p:to>
                                    </p:set>
                                    <p:animEffect transition="in" filter="fade">
                                      <p:cBhvr>
                                        <p:cTn id="40" dur="500"/>
                                        <p:tgtEl>
                                          <p:spTgt spid="27">
                                            <p:graphicEl>
                                              <a:dgm id="{9BEC0F33-85C8-F249-8219-2A26EF3935D7}"/>
                                            </p:graphic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7">
                                            <p:graphicEl>
                                              <a:dgm id="{E439FD84-2DF6-2B48-9EC9-760552FA8F7A}"/>
                                            </p:graphicEl>
                                          </p:spTgt>
                                        </p:tgtEl>
                                        <p:attrNameLst>
                                          <p:attrName>style.visibility</p:attrName>
                                        </p:attrNameLst>
                                      </p:cBhvr>
                                      <p:to>
                                        <p:strVal val="visible"/>
                                      </p:to>
                                    </p:set>
                                    <p:animEffect transition="in" filter="fade">
                                      <p:cBhvr>
                                        <p:cTn id="43" dur="500"/>
                                        <p:tgtEl>
                                          <p:spTgt spid="27">
                                            <p:graphicEl>
                                              <a:dgm id="{E439FD84-2DF6-2B48-9EC9-760552FA8F7A}"/>
                                            </p:graphicEl>
                                          </p:spTgt>
                                        </p:tgtEl>
                                      </p:cBhvr>
                                    </p:animEffec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27">
                                            <p:graphicEl>
                                              <a:dgm id="{DEBA26BF-3BEB-0B4C-9FF0-E194176C0F71}"/>
                                            </p:graphicEl>
                                          </p:spTgt>
                                        </p:tgtEl>
                                        <p:attrNameLst>
                                          <p:attrName>style.visibility</p:attrName>
                                        </p:attrNameLst>
                                      </p:cBhvr>
                                      <p:to>
                                        <p:strVal val="visible"/>
                                      </p:to>
                                    </p:set>
                                    <p:animEffect transition="in" filter="fade">
                                      <p:cBhvr>
                                        <p:cTn id="47" dur="500"/>
                                        <p:tgtEl>
                                          <p:spTgt spid="27">
                                            <p:graphicEl>
                                              <a:dgm id="{DEBA26BF-3BEB-0B4C-9FF0-E194176C0F71}"/>
                                            </p:graphic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7">
                                            <p:graphicEl>
                                              <a:dgm id="{A7BA3752-C53F-CC4D-9971-45D05F271C60}"/>
                                            </p:graphicEl>
                                          </p:spTgt>
                                        </p:tgtEl>
                                        <p:attrNameLst>
                                          <p:attrName>style.visibility</p:attrName>
                                        </p:attrNameLst>
                                      </p:cBhvr>
                                      <p:to>
                                        <p:strVal val="visible"/>
                                      </p:to>
                                    </p:set>
                                    <p:animEffect transition="in" filter="fade">
                                      <p:cBhvr>
                                        <p:cTn id="50" dur="500"/>
                                        <p:tgtEl>
                                          <p:spTgt spid="27">
                                            <p:graphicEl>
                                              <a:dgm id="{A7BA3752-C53F-CC4D-9971-45D05F271C60}"/>
                                            </p:graphic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7">
                                            <p:graphicEl>
                                              <a:dgm id="{D3EE60BA-FF61-404F-A1E3-0F4CED78D285}"/>
                                            </p:graphicEl>
                                          </p:spTgt>
                                        </p:tgtEl>
                                        <p:attrNameLst>
                                          <p:attrName>style.visibility</p:attrName>
                                        </p:attrNameLst>
                                      </p:cBhvr>
                                      <p:to>
                                        <p:strVal val="visible"/>
                                      </p:to>
                                    </p:set>
                                    <p:animEffect transition="in" filter="fade">
                                      <p:cBhvr>
                                        <p:cTn id="53" dur="500"/>
                                        <p:tgtEl>
                                          <p:spTgt spid="27">
                                            <p:graphicEl>
                                              <a:dgm id="{D3EE60BA-FF61-404F-A1E3-0F4CED78D285}"/>
                                            </p:graphicEl>
                                          </p:spTgt>
                                        </p:tgtEl>
                                      </p:cBhvr>
                                    </p:animEffect>
                                  </p:childTnLst>
                                </p:cTn>
                              </p:par>
                            </p:childTnLst>
                          </p:cTn>
                        </p:par>
                        <p:par>
                          <p:cTn id="54" fill="hold">
                            <p:stCondLst>
                              <p:cond delay="2500"/>
                            </p:stCondLst>
                            <p:childTnLst>
                              <p:par>
                                <p:cTn id="55" presetID="10" presetClass="entr" presetSubtype="0" fill="hold" grpId="0" nodeType="afterEffect">
                                  <p:stCondLst>
                                    <p:cond delay="0"/>
                                  </p:stCondLst>
                                  <p:childTnLst>
                                    <p:set>
                                      <p:cBhvr>
                                        <p:cTn id="56" dur="1" fill="hold">
                                          <p:stCondLst>
                                            <p:cond delay="0"/>
                                          </p:stCondLst>
                                        </p:cTn>
                                        <p:tgtEl>
                                          <p:spTgt spid="27">
                                            <p:graphicEl>
                                              <a:dgm id="{A4D0A183-46B9-9346-94F0-9738B4929113}"/>
                                            </p:graphicEl>
                                          </p:spTgt>
                                        </p:tgtEl>
                                        <p:attrNameLst>
                                          <p:attrName>style.visibility</p:attrName>
                                        </p:attrNameLst>
                                      </p:cBhvr>
                                      <p:to>
                                        <p:strVal val="visible"/>
                                      </p:to>
                                    </p:set>
                                    <p:animEffect transition="in" filter="fade">
                                      <p:cBhvr>
                                        <p:cTn id="57" dur="500"/>
                                        <p:tgtEl>
                                          <p:spTgt spid="27">
                                            <p:graphicEl>
                                              <a:dgm id="{A4D0A183-46B9-9346-94F0-9738B4929113}"/>
                                            </p:graphicEl>
                                          </p:spTgt>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7">
                                            <p:graphicEl>
                                              <a:dgm id="{88313EBB-02AE-F348-BDDE-07C72027FDDA}"/>
                                            </p:graphicEl>
                                          </p:spTgt>
                                        </p:tgtEl>
                                        <p:attrNameLst>
                                          <p:attrName>style.visibility</p:attrName>
                                        </p:attrNameLst>
                                      </p:cBhvr>
                                      <p:to>
                                        <p:strVal val="visible"/>
                                      </p:to>
                                    </p:set>
                                    <p:animEffect transition="in" filter="fade">
                                      <p:cBhvr>
                                        <p:cTn id="60" dur="500"/>
                                        <p:tgtEl>
                                          <p:spTgt spid="27">
                                            <p:graphicEl>
                                              <a:dgm id="{88313EBB-02AE-F348-BDDE-07C72027FDDA}"/>
                                            </p:graphicEl>
                                          </p:spTgt>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7">
                                            <p:graphicEl>
                                              <a:dgm id="{7878AE0B-B1AD-ED4F-84ED-6CA895FE53E6}"/>
                                            </p:graphicEl>
                                          </p:spTgt>
                                        </p:tgtEl>
                                        <p:attrNameLst>
                                          <p:attrName>style.visibility</p:attrName>
                                        </p:attrNameLst>
                                      </p:cBhvr>
                                      <p:to>
                                        <p:strVal val="visible"/>
                                      </p:to>
                                    </p:set>
                                    <p:animEffect transition="in" filter="fade">
                                      <p:cBhvr>
                                        <p:cTn id="63" dur="500"/>
                                        <p:tgtEl>
                                          <p:spTgt spid="27">
                                            <p:graphicEl>
                                              <a:dgm id="{7878AE0B-B1AD-ED4F-84ED-6CA895FE53E6}"/>
                                            </p:graphicEl>
                                          </p:spTgt>
                                        </p:tgtEl>
                                      </p:cBhvr>
                                    </p:animEffec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7" grpId="0" uiExpand="1">
        <p:bldSub>
          <a:bldDgm bld="one"/>
        </p:bldSub>
      </p:bldGraphic>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95618" y="276837"/>
            <a:ext cx="10728157" cy="725738"/>
          </a:xfrm>
        </p:spPr>
        <p:txBody>
          <a:bodyPr wrap="square" anchor="t">
            <a:normAutofit/>
          </a:bodyPr>
          <a:lstStyle/>
          <a:p>
            <a:r>
              <a:rPr lang="en-US" b="1" noProof="1">
                <a:latin typeface="Segoe UI Semibold" panose="020B0502040204020203" pitchFamily="34" charset="0"/>
                <a:ea typeface="Segoe UI Semibold" panose="020B0502040204020203" pitchFamily="34" charset="0"/>
                <a:cs typeface="Segoe UI Semibold" panose="020B0502040204020203" pitchFamily="34" charset="0"/>
              </a:rPr>
              <a:t>Step by step: Build a custom connector</a:t>
            </a:r>
          </a:p>
        </p:txBody>
      </p:sp>
      <p:graphicFrame>
        <p:nvGraphicFramePr>
          <p:cNvPr id="27" name="Content Placeholder 1">
            <a:extLst>
              <a:ext uri="{FF2B5EF4-FFF2-40B4-BE49-F238E27FC236}">
                <a16:creationId xmlns:a16="http://schemas.microsoft.com/office/drawing/2014/main" id="{22FC70E7-3951-456E-9504-4C9CD36FF99D}"/>
              </a:ext>
            </a:extLst>
          </p:cNvPr>
          <p:cNvGraphicFramePr>
            <a:graphicFrameLocks noGrp="1"/>
          </p:cNvGraphicFramePr>
          <p:nvPr>
            <p:ph sz="quarter" idx="4294967295"/>
            <p:extLst>
              <p:ext uri="{D42A27DB-BD31-4B8C-83A1-F6EECF244321}">
                <p14:modId xmlns:p14="http://schemas.microsoft.com/office/powerpoint/2010/main" val="3052384933"/>
              </p:ext>
            </p:extLst>
          </p:nvPr>
        </p:nvGraphicFramePr>
        <p:xfrm>
          <a:off x="595618" y="1236415"/>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7924374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
                                            <p:graphicEl>
                                              <a:dgm id="{0F544F2F-7B63-4213-B3D8-8A7273281936}"/>
                                            </p:graphicEl>
                                          </p:spTgt>
                                        </p:tgtEl>
                                        <p:attrNameLst>
                                          <p:attrName>style.visibility</p:attrName>
                                        </p:attrNameLst>
                                      </p:cBhvr>
                                      <p:to>
                                        <p:strVal val="visible"/>
                                      </p:to>
                                    </p:set>
                                    <p:animEffect transition="in" filter="fade">
                                      <p:cBhvr>
                                        <p:cTn id="7" dur="500"/>
                                        <p:tgtEl>
                                          <p:spTgt spid="27">
                                            <p:graphicEl>
                                              <a:dgm id="{0F544F2F-7B63-4213-B3D8-8A7273281936}"/>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graphicEl>
                                              <a:dgm id="{AB20D592-C47D-480E-9FCE-0B6AA553978A}"/>
                                            </p:graphicEl>
                                          </p:spTgt>
                                        </p:tgtEl>
                                        <p:attrNameLst>
                                          <p:attrName>style.visibility</p:attrName>
                                        </p:attrNameLst>
                                      </p:cBhvr>
                                      <p:to>
                                        <p:strVal val="visible"/>
                                      </p:to>
                                    </p:set>
                                    <p:animEffect transition="in" filter="fade">
                                      <p:cBhvr>
                                        <p:cTn id="10" dur="500"/>
                                        <p:tgtEl>
                                          <p:spTgt spid="27">
                                            <p:graphicEl>
                                              <a:dgm id="{AB20D592-C47D-480E-9FCE-0B6AA553978A}"/>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7">
                                            <p:graphicEl>
                                              <a:dgm id="{B892899B-6826-4880-BD30-CE5A016393F8}"/>
                                            </p:graphicEl>
                                          </p:spTgt>
                                        </p:tgtEl>
                                        <p:attrNameLst>
                                          <p:attrName>style.visibility</p:attrName>
                                        </p:attrNameLst>
                                      </p:cBhvr>
                                      <p:to>
                                        <p:strVal val="visible"/>
                                      </p:to>
                                    </p:set>
                                    <p:animEffect transition="in" filter="fade">
                                      <p:cBhvr>
                                        <p:cTn id="13" dur="500"/>
                                        <p:tgtEl>
                                          <p:spTgt spid="27">
                                            <p:graphicEl>
                                              <a:dgm id="{B892899B-6826-4880-BD30-CE5A016393F8}"/>
                                            </p:graphicEl>
                                          </p:spTgt>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27">
                                            <p:graphicEl>
                                              <a:dgm id="{78F5EC67-82DB-3A47-BE47-F2ADC99F3A08}"/>
                                            </p:graphicEl>
                                          </p:spTgt>
                                        </p:tgtEl>
                                        <p:attrNameLst>
                                          <p:attrName>style.visibility</p:attrName>
                                        </p:attrNameLst>
                                      </p:cBhvr>
                                      <p:to>
                                        <p:strVal val="visible"/>
                                      </p:to>
                                    </p:set>
                                    <p:animEffect transition="in" filter="fade">
                                      <p:cBhvr>
                                        <p:cTn id="17" dur="500"/>
                                        <p:tgtEl>
                                          <p:spTgt spid="27">
                                            <p:graphicEl>
                                              <a:dgm id="{78F5EC67-82DB-3A47-BE47-F2ADC99F3A08}"/>
                                            </p:graphic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7">
                                            <p:graphicEl>
                                              <a:dgm id="{4CDB3BC9-94A8-1942-A0D7-A6C018FBD8C0}"/>
                                            </p:graphicEl>
                                          </p:spTgt>
                                        </p:tgtEl>
                                        <p:attrNameLst>
                                          <p:attrName>style.visibility</p:attrName>
                                        </p:attrNameLst>
                                      </p:cBhvr>
                                      <p:to>
                                        <p:strVal val="visible"/>
                                      </p:to>
                                    </p:set>
                                    <p:animEffect transition="in" filter="fade">
                                      <p:cBhvr>
                                        <p:cTn id="20" dur="500"/>
                                        <p:tgtEl>
                                          <p:spTgt spid="27">
                                            <p:graphicEl>
                                              <a:dgm id="{4CDB3BC9-94A8-1942-A0D7-A6C018FBD8C0}"/>
                                            </p:graphic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7">
                                            <p:graphicEl>
                                              <a:dgm id="{79082CCF-919A-1445-A443-34F82F2607F2}"/>
                                            </p:graphicEl>
                                          </p:spTgt>
                                        </p:tgtEl>
                                        <p:attrNameLst>
                                          <p:attrName>style.visibility</p:attrName>
                                        </p:attrNameLst>
                                      </p:cBhvr>
                                      <p:to>
                                        <p:strVal val="visible"/>
                                      </p:to>
                                    </p:set>
                                    <p:animEffect transition="in" filter="fade">
                                      <p:cBhvr>
                                        <p:cTn id="23" dur="500"/>
                                        <p:tgtEl>
                                          <p:spTgt spid="27">
                                            <p:graphicEl>
                                              <a:dgm id="{79082CCF-919A-1445-A443-34F82F2607F2}"/>
                                            </p:graphicEl>
                                          </p:spTgt>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27">
                                            <p:graphicEl>
                                              <a:dgm id="{B4969633-86E4-AB41-BEEF-CAF2378C4FFC}"/>
                                            </p:graphicEl>
                                          </p:spTgt>
                                        </p:tgtEl>
                                        <p:attrNameLst>
                                          <p:attrName>style.visibility</p:attrName>
                                        </p:attrNameLst>
                                      </p:cBhvr>
                                      <p:to>
                                        <p:strVal val="visible"/>
                                      </p:to>
                                    </p:set>
                                    <p:animEffect transition="in" filter="fade">
                                      <p:cBhvr>
                                        <p:cTn id="27" dur="500"/>
                                        <p:tgtEl>
                                          <p:spTgt spid="27">
                                            <p:graphicEl>
                                              <a:dgm id="{B4969633-86E4-AB41-BEEF-CAF2378C4FFC}"/>
                                            </p:graphic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7">
                                            <p:graphicEl>
                                              <a:dgm id="{BAA21375-639A-3F41-8793-387ACBF9EA6B}"/>
                                            </p:graphicEl>
                                          </p:spTgt>
                                        </p:tgtEl>
                                        <p:attrNameLst>
                                          <p:attrName>style.visibility</p:attrName>
                                        </p:attrNameLst>
                                      </p:cBhvr>
                                      <p:to>
                                        <p:strVal val="visible"/>
                                      </p:to>
                                    </p:set>
                                    <p:animEffect transition="in" filter="fade">
                                      <p:cBhvr>
                                        <p:cTn id="30" dur="500"/>
                                        <p:tgtEl>
                                          <p:spTgt spid="27">
                                            <p:graphicEl>
                                              <a:dgm id="{BAA21375-639A-3F41-8793-387ACBF9EA6B}"/>
                                            </p:graphic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7">
                                            <p:graphicEl>
                                              <a:dgm id="{1464BE0B-40F6-8D46-B696-2F043B63C4F9}"/>
                                            </p:graphicEl>
                                          </p:spTgt>
                                        </p:tgtEl>
                                        <p:attrNameLst>
                                          <p:attrName>style.visibility</p:attrName>
                                        </p:attrNameLst>
                                      </p:cBhvr>
                                      <p:to>
                                        <p:strVal val="visible"/>
                                      </p:to>
                                    </p:set>
                                    <p:animEffect transition="in" filter="fade">
                                      <p:cBhvr>
                                        <p:cTn id="33" dur="500"/>
                                        <p:tgtEl>
                                          <p:spTgt spid="27">
                                            <p:graphicEl>
                                              <a:dgm id="{1464BE0B-40F6-8D46-B696-2F043B63C4F9}"/>
                                            </p:graphicEl>
                                          </p:spTgt>
                                        </p:tgtEl>
                                      </p:cBhvr>
                                    </p:animEffect>
                                  </p:childTnLst>
                                </p:cTn>
                              </p:par>
                            </p:childTnLst>
                          </p:cTn>
                        </p:par>
                        <p:par>
                          <p:cTn id="34" fill="hold">
                            <p:stCondLst>
                              <p:cond delay="1500"/>
                            </p:stCondLst>
                            <p:childTnLst>
                              <p:par>
                                <p:cTn id="35" presetID="10" presetClass="entr" presetSubtype="0" fill="hold" grpId="0" nodeType="afterEffect">
                                  <p:stCondLst>
                                    <p:cond delay="0"/>
                                  </p:stCondLst>
                                  <p:childTnLst>
                                    <p:set>
                                      <p:cBhvr>
                                        <p:cTn id="36" dur="1" fill="hold">
                                          <p:stCondLst>
                                            <p:cond delay="0"/>
                                          </p:stCondLst>
                                        </p:cTn>
                                        <p:tgtEl>
                                          <p:spTgt spid="27">
                                            <p:graphicEl>
                                              <a:dgm id="{66DDA7D1-85F3-464F-A13A-715D7A05735B}"/>
                                            </p:graphicEl>
                                          </p:spTgt>
                                        </p:tgtEl>
                                        <p:attrNameLst>
                                          <p:attrName>style.visibility</p:attrName>
                                        </p:attrNameLst>
                                      </p:cBhvr>
                                      <p:to>
                                        <p:strVal val="visible"/>
                                      </p:to>
                                    </p:set>
                                    <p:animEffect transition="in" filter="fade">
                                      <p:cBhvr>
                                        <p:cTn id="37" dur="500"/>
                                        <p:tgtEl>
                                          <p:spTgt spid="27">
                                            <p:graphicEl>
                                              <a:dgm id="{66DDA7D1-85F3-464F-A13A-715D7A05735B}"/>
                                            </p:graphic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7">
                                            <p:graphicEl>
                                              <a:dgm id="{9BEC0F33-85C8-F249-8219-2A26EF3935D7}"/>
                                            </p:graphicEl>
                                          </p:spTgt>
                                        </p:tgtEl>
                                        <p:attrNameLst>
                                          <p:attrName>style.visibility</p:attrName>
                                        </p:attrNameLst>
                                      </p:cBhvr>
                                      <p:to>
                                        <p:strVal val="visible"/>
                                      </p:to>
                                    </p:set>
                                    <p:animEffect transition="in" filter="fade">
                                      <p:cBhvr>
                                        <p:cTn id="40" dur="500"/>
                                        <p:tgtEl>
                                          <p:spTgt spid="27">
                                            <p:graphicEl>
                                              <a:dgm id="{9BEC0F33-85C8-F249-8219-2A26EF3935D7}"/>
                                            </p:graphic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7">
                                            <p:graphicEl>
                                              <a:dgm id="{E439FD84-2DF6-2B48-9EC9-760552FA8F7A}"/>
                                            </p:graphicEl>
                                          </p:spTgt>
                                        </p:tgtEl>
                                        <p:attrNameLst>
                                          <p:attrName>style.visibility</p:attrName>
                                        </p:attrNameLst>
                                      </p:cBhvr>
                                      <p:to>
                                        <p:strVal val="visible"/>
                                      </p:to>
                                    </p:set>
                                    <p:animEffect transition="in" filter="fade">
                                      <p:cBhvr>
                                        <p:cTn id="43" dur="500"/>
                                        <p:tgtEl>
                                          <p:spTgt spid="27">
                                            <p:graphicEl>
                                              <a:dgm id="{E439FD84-2DF6-2B48-9EC9-760552FA8F7A}"/>
                                            </p:graphicEl>
                                          </p:spTgt>
                                        </p:tgtEl>
                                      </p:cBhvr>
                                    </p:animEffec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27">
                                            <p:graphicEl>
                                              <a:dgm id="{DEBA26BF-3BEB-0B4C-9FF0-E194176C0F71}"/>
                                            </p:graphicEl>
                                          </p:spTgt>
                                        </p:tgtEl>
                                        <p:attrNameLst>
                                          <p:attrName>style.visibility</p:attrName>
                                        </p:attrNameLst>
                                      </p:cBhvr>
                                      <p:to>
                                        <p:strVal val="visible"/>
                                      </p:to>
                                    </p:set>
                                    <p:animEffect transition="in" filter="fade">
                                      <p:cBhvr>
                                        <p:cTn id="47" dur="500"/>
                                        <p:tgtEl>
                                          <p:spTgt spid="27">
                                            <p:graphicEl>
                                              <a:dgm id="{DEBA26BF-3BEB-0B4C-9FF0-E194176C0F71}"/>
                                            </p:graphic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7">
                                            <p:graphicEl>
                                              <a:dgm id="{A7BA3752-C53F-CC4D-9971-45D05F271C60}"/>
                                            </p:graphicEl>
                                          </p:spTgt>
                                        </p:tgtEl>
                                        <p:attrNameLst>
                                          <p:attrName>style.visibility</p:attrName>
                                        </p:attrNameLst>
                                      </p:cBhvr>
                                      <p:to>
                                        <p:strVal val="visible"/>
                                      </p:to>
                                    </p:set>
                                    <p:animEffect transition="in" filter="fade">
                                      <p:cBhvr>
                                        <p:cTn id="50" dur="500"/>
                                        <p:tgtEl>
                                          <p:spTgt spid="27">
                                            <p:graphicEl>
                                              <a:dgm id="{A7BA3752-C53F-CC4D-9971-45D05F271C60}"/>
                                            </p:graphic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7">
                                            <p:graphicEl>
                                              <a:dgm id="{D3EE60BA-FF61-404F-A1E3-0F4CED78D285}"/>
                                            </p:graphicEl>
                                          </p:spTgt>
                                        </p:tgtEl>
                                        <p:attrNameLst>
                                          <p:attrName>style.visibility</p:attrName>
                                        </p:attrNameLst>
                                      </p:cBhvr>
                                      <p:to>
                                        <p:strVal val="visible"/>
                                      </p:to>
                                    </p:set>
                                    <p:animEffect transition="in" filter="fade">
                                      <p:cBhvr>
                                        <p:cTn id="53" dur="500"/>
                                        <p:tgtEl>
                                          <p:spTgt spid="27">
                                            <p:graphicEl>
                                              <a:dgm id="{D3EE60BA-FF61-404F-A1E3-0F4CED78D285}"/>
                                            </p:graphicEl>
                                          </p:spTgt>
                                        </p:tgtEl>
                                      </p:cBhvr>
                                    </p:animEffect>
                                  </p:childTnLst>
                                </p:cTn>
                              </p:par>
                            </p:childTnLst>
                          </p:cTn>
                        </p:par>
                        <p:par>
                          <p:cTn id="54" fill="hold">
                            <p:stCondLst>
                              <p:cond delay="2500"/>
                            </p:stCondLst>
                            <p:childTnLst>
                              <p:par>
                                <p:cTn id="55" presetID="10" presetClass="entr" presetSubtype="0" fill="hold" grpId="0" nodeType="afterEffect">
                                  <p:stCondLst>
                                    <p:cond delay="0"/>
                                  </p:stCondLst>
                                  <p:childTnLst>
                                    <p:set>
                                      <p:cBhvr>
                                        <p:cTn id="56" dur="1" fill="hold">
                                          <p:stCondLst>
                                            <p:cond delay="0"/>
                                          </p:stCondLst>
                                        </p:cTn>
                                        <p:tgtEl>
                                          <p:spTgt spid="27">
                                            <p:graphicEl>
                                              <a:dgm id="{A4D0A183-46B9-9346-94F0-9738B4929113}"/>
                                            </p:graphicEl>
                                          </p:spTgt>
                                        </p:tgtEl>
                                        <p:attrNameLst>
                                          <p:attrName>style.visibility</p:attrName>
                                        </p:attrNameLst>
                                      </p:cBhvr>
                                      <p:to>
                                        <p:strVal val="visible"/>
                                      </p:to>
                                    </p:set>
                                    <p:animEffect transition="in" filter="fade">
                                      <p:cBhvr>
                                        <p:cTn id="57" dur="500"/>
                                        <p:tgtEl>
                                          <p:spTgt spid="27">
                                            <p:graphicEl>
                                              <a:dgm id="{A4D0A183-46B9-9346-94F0-9738B4929113}"/>
                                            </p:graphicEl>
                                          </p:spTgt>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7">
                                            <p:graphicEl>
                                              <a:dgm id="{88313EBB-02AE-F348-BDDE-07C72027FDDA}"/>
                                            </p:graphicEl>
                                          </p:spTgt>
                                        </p:tgtEl>
                                        <p:attrNameLst>
                                          <p:attrName>style.visibility</p:attrName>
                                        </p:attrNameLst>
                                      </p:cBhvr>
                                      <p:to>
                                        <p:strVal val="visible"/>
                                      </p:to>
                                    </p:set>
                                    <p:animEffect transition="in" filter="fade">
                                      <p:cBhvr>
                                        <p:cTn id="60" dur="500"/>
                                        <p:tgtEl>
                                          <p:spTgt spid="27">
                                            <p:graphicEl>
                                              <a:dgm id="{88313EBB-02AE-F348-BDDE-07C72027FDDA}"/>
                                            </p:graphicEl>
                                          </p:spTgt>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7">
                                            <p:graphicEl>
                                              <a:dgm id="{7878AE0B-B1AD-ED4F-84ED-6CA895FE53E6}"/>
                                            </p:graphicEl>
                                          </p:spTgt>
                                        </p:tgtEl>
                                        <p:attrNameLst>
                                          <p:attrName>style.visibility</p:attrName>
                                        </p:attrNameLst>
                                      </p:cBhvr>
                                      <p:to>
                                        <p:strVal val="visible"/>
                                      </p:to>
                                    </p:set>
                                    <p:animEffect transition="in" filter="fade">
                                      <p:cBhvr>
                                        <p:cTn id="63" dur="500"/>
                                        <p:tgtEl>
                                          <p:spTgt spid="27">
                                            <p:graphicEl>
                                              <a:dgm id="{7878AE0B-B1AD-ED4F-84ED-6CA895FE53E6}"/>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7" grpId="0" uiExpand="1">
        <p:bldSub>
          <a:bldDgm bld="one"/>
        </p:bldSub>
      </p:bldGraphic>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459F88-A3F8-FD43-864D-79B4A022241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900D720-88BB-6C2E-8C93-4D215D33DD97}"/>
              </a:ext>
            </a:extLst>
          </p:cNvPr>
          <p:cNvSpPr>
            <a:spLocks noGrp="1"/>
          </p:cNvSpPr>
          <p:nvPr>
            <p:ph type="title"/>
          </p:nvPr>
        </p:nvSpPr>
        <p:spPr>
          <a:xfrm>
            <a:off x="606989" y="1820411"/>
            <a:ext cx="10728157" cy="2298584"/>
          </a:xfrm>
        </p:spPr>
        <p:txBody>
          <a:bodyPr/>
          <a:lstStyle/>
          <a:p>
            <a:pPr algn="ctr"/>
            <a:r>
              <a:rPr lang="de-DE" sz="8000" dirty="0" err="1"/>
              <a:t>Let‘s</a:t>
            </a:r>
            <a:r>
              <a:rPr lang="de-DE" sz="8000" dirty="0"/>
              <a:t> </a:t>
            </a:r>
            <a:r>
              <a:rPr lang="de-DE" sz="8000" dirty="0" err="1"/>
              <a:t>build</a:t>
            </a:r>
            <a:r>
              <a:rPr lang="de-DE" sz="8000" dirty="0"/>
              <a:t> </a:t>
            </a:r>
            <a:r>
              <a:rPr lang="de-DE" sz="8000" dirty="0" err="1"/>
              <a:t>it!</a:t>
            </a:r>
            <a:endParaRPr lang="de-DE" sz="8000" dirty="0"/>
          </a:p>
        </p:txBody>
      </p:sp>
      <p:sp>
        <p:nvSpPr>
          <p:cNvPr id="5" name="Slide Number Placeholder 4">
            <a:extLst>
              <a:ext uri="{FF2B5EF4-FFF2-40B4-BE49-F238E27FC236}">
                <a16:creationId xmlns:a16="http://schemas.microsoft.com/office/drawing/2014/main" id="{C0EE8ED8-D8D8-6D74-7B38-287FD3E71FE1}"/>
              </a:ext>
            </a:extLst>
          </p:cNvPr>
          <p:cNvSpPr>
            <a:spLocks noGrp="1"/>
          </p:cNvSpPr>
          <p:nvPr>
            <p:ph type="sldNum" sz="quarter" idx="4294967295"/>
          </p:nvPr>
        </p:nvSpPr>
        <p:spPr>
          <a:xfrm>
            <a:off x="9197975" y="6361113"/>
            <a:ext cx="2994025" cy="360362"/>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8A2B098-C640-ED48-8BF9-C82891310785}"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 name="Picture 1" descr="A cat sitting on a chair with a computer&#10;&#10;Description automatically generated">
            <a:extLst>
              <a:ext uri="{FF2B5EF4-FFF2-40B4-BE49-F238E27FC236}">
                <a16:creationId xmlns:a16="http://schemas.microsoft.com/office/drawing/2014/main" id="{1901E817-3A7A-4F33-4AA7-07F86CAA12A4}"/>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028032" y="3242051"/>
            <a:ext cx="3866009" cy="2173660"/>
          </a:xfrm>
          <a:prstGeom prst="rect">
            <a:avLst/>
          </a:prstGeom>
        </p:spPr>
      </p:pic>
    </p:spTree>
    <p:extLst>
      <p:ext uri="{BB962C8B-B14F-4D97-AF65-F5344CB8AC3E}">
        <p14:creationId xmlns:p14="http://schemas.microsoft.com/office/powerpoint/2010/main" val="4025964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F9FE7F2-7594-C345-99E2-801E68C39CBF}"/>
              </a:ext>
            </a:extLst>
          </p:cNvPr>
          <p:cNvSpPr txBox="1"/>
          <p:nvPr/>
        </p:nvSpPr>
        <p:spPr>
          <a:xfrm>
            <a:off x="3925891" y="1396314"/>
            <a:ext cx="8011886" cy="1200329"/>
          </a:xfrm>
          <a:prstGeom prst="rect">
            <a:avLst/>
          </a:prstGeom>
          <a:noFill/>
        </p:spPr>
        <p:txBody>
          <a:bodyPr wrap="square" rtlCol="0" anchor="t">
            <a:spAutoFit/>
          </a:bodyPr>
          <a:lstStyle/>
          <a:p>
            <a:r>
              <a:rPr lang="en-US" sz="4400" b="1">
                <a:solidFill>
                  <a:schemeClr val="bg1">
                    <a:lumMod val="95000"/>
                  </a:schemeClr>
                </a:solidFill>
                <a:latin typeface="Calibri Light" charset="0"/>
                <a:ea typeface="Calibri Light" charset="0"/>
                <a:cs typeface="Calibri Light" charset="0"/>
              </a:rPr>
              <a:t>Lab 2 </a:t>
            </a:r>
            <a:r>
              <a:rPr lang="en-US" sz="4400" b="1" dirty="0">
                <a:solidFill>
                  <a:schemeClr val="bg1">
                    <a:lumMod val="95000"/>
                  </a:schemeClr>
                </a:solidFill>
                <a:latin typeface="Calibri Light" charset="0"/>
                <a:ea typeface="Calibri Light" charset="0"/>
                <a:cs typeface="Calibri Light" charset="0"/>
              </a:rPr>
              <a:t>– Custom Connectors</a:t>
            </a:r>
          </a:p>
          <a:p>
            <a:r>
              <a:rPr lang="en-US" sz="2800" b="1" dirty="0">
                <a:solidFill>
                  <a:schemeClr val="bg1">
                    <a:lumMod val="95000"/>
                  </a:schemeClr>
                </a:solidFill>
                <a:latin typeface="Calibri Light" charset="0"/>
                <a:ea typeface="Calibri Light" charset="0"/>
                <a:cs typeface="Calibri Light" charset="0"/>
              </a:rPr>
              <a:t>(connecting to an Azure Function)</a:t>
            </a:r>
            <a:endParaRPr lang="en-GB" sz="2800" b="1" dirty="0">
              <a:solidFill>
                <a:schemeClr val="bg1">
                  <a:lumMod val="95000"/>
                </a:schemeClr>
              </a:solidFill>
              <a:latin typeface="Calibri Light" charset="0"/>
              <a:ea typeface="Calibri Light" charset="0"/>
              <a:cs typeface="Calibri Light" charset="0"/>
            </a:endParaRPr>
          </a:p>
        </p:txBody>
      </p:sp>
      <p:sp>
        <p:nvSpPr>
          <p:cNvPr id="3" name="TextBox 2">
            <a:extLst>
              <a:ext uri="{FF2B5EF4-FFF2-40B4-BE49-F238E27FC236}">
                <a16:creationId xmlns:a16="http://schemas.microsoft.com/office/drawing/2014/main" id="{43EEEF1E-D858-9C47-9A95-2D236BFD2F31}"/>
              </a:ext>
            </a:extLst>
          </p:cNvPr>
          <p:cNvSpPr txBox="1"/>
          <p:nvPr/>
        </p:nvSpPr>
        <p:spPr>
          <a:xfrm>
            <a:off x="3925891" y="4302696"/>
            <a:ext cx="8011886" cy="615553"/>
          </a:xfrm>
          <a:prstGeom prst="rect">
            <a:avLst/>
          </a:prstGeom>
          <a:noFill/>
        </p:spPr>
        <p:txBody>
          <a:bodyPr wrap="square" rtlCol="0" anchor="t">
            <a:spAutoFit/>
          </a:bodyPr>
          <a:lstStyle/>
          <a:p>
            <a:r>
              <a:rPr lang="en-GB" sz="3400" b="1" dirty="0">
                <a:solidFill>
                  <a:srgbClr val="3679FC"/>
                </a:solidFill>
                <a:latin typeface="Calibri" charset="0"/>
                <a:ea typeface="Calibri" charset="0"/>
                <a:cs typeface="Calibri" charset="0"/>
              </a:rPr>
              <a:t>Advanced Integrations Workshop @ EPPC</a:t>
            </a:r>
          </a:p>
        </p:txBody>
      </p:sp>
      <p:sp>
        <p:nvSpPr>
          <p:cNvPr id="4" name="TextBox 3">
            <a:extLst>
              <a:ext uri="{FF2B5EF4-FFF2-40B4-BE49-F238E27FC236}">
                <a16:creationId xmlns:a16="http://schemas.microsoft.com/office/drawing/2014/main" id="{12D3891A-AA58-D14F-909B-BF581581CD69}"/>
              </a:ext>
            </a:extLst>
          </p:cNvPr>
          <p:cNvSpPr txBox="1"/>
          <p:nvPr/>
        </p:nvSpPr>
        <p:spPr>
          <a:xfrm>
            <a:off x="3925891" y="4918822"/>
            <a:ext cx="8011886" cy="461665"/>
          </a:xfrm>
          <a:prstGeom prst="rect">
            <a:avLst/>
          </a:prstGeom>
          <a:noFill/>
        </p:spPr>
        <p:txBody>
          <a:bodyPr wrap="square" rtlCol="0" anchor="t">
            <a:spAutoFit/>
          </a:bodyPr>
          <a:lstStyle/>
          <a:p>
            <a:r>
              <a:rPr lang="en-GB" sz="2400" dirty="0">
                <a:solidFill>
                  <a:srgbClr val="B2AFC4"/>
                </a:solidFill>
                <a:latin typeface="Calibri" charset="0"/>
                <a:ea typeface="Calibri" charset="0"/>
                <a:cs typeface="Calibri" charset="0"/>
              </a:rPr>
              <a:t>Custom Connectors bridge Pro- and Low-Code!</a:t>
            </a:r>
          </a:p>
        </p:txBody>
      </p:sp>
      <p:pic>
        <p:nvPicPr>
          <p:cNvPr id="8" name="Picture Placeholder 5">
            <a:extLst>
              <a:ext uri="{FF2B5EF4-FFF2-40B4-BE49-F238E27FC236}">
                <a16:creationId xmlns:a16="http://schemas.microsoft.com/office/drawing/2014/main" id="{F462146E-6987-9EEF-D6FB-019452163232}"/>
              </a:ext>
            </a:extLst>
          </p:cNvPr>
          <p:cNvPicPr>
            <a:picLocks noChangeAspect="1"/>
          </p:cNvPicPr>
          <p:nvPr/>
        </p:nvPicPr>
        <p:blipFill>
          <a:blip r:embed="rId4"/>
          <a:srcRect/>
          <a:stretch/>
        </p:blipFill>
        <p:spPr>
          <a:xfrm>
            <a:off x="464365" y="1307664"/>
            <a:ext cx="2995032" cy="299503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500467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66EDC7-2F81-4244-D608-9DAF3B4CE00C}"/>
              </a:ext>
            </a:extLst>
          </p:cNvPr>
          <p:cNvSpPr>
            <a:spLocks noGrp="1"/>
          </p:cNvSpPr>
          <p:nvPr>
            <p:ph type="title"/>
          </p:nvPr>
        </p:nvSpPr>
        <p:spPr/>
        <p:txBody>
          <a:bodyPr/>
          <a:lstStyle/>
          <a:p>
            <a:r>
              <a:rPr lang="de-DE" dirty="0"/>
              <a:t>The Lab Material</a:t>
            </a:r>
          </a:p>
        </p:txBody>
      </p:sp>
      <p:pic>
        <p:nvPicPr>
          <p:cNvPr id="2050" name="Picture 2" descr="GitHub Logo, symbol, meaning, history, PNG, brand">
            <a:extLst>
              <a:ext uri="{FF2B5EF4-FFF2-40B4-BE49-F238E27FC236}">
                <a16:creationId xmlns:a16="http://schemas.microsoft.com/office/drawing/2014/main" id="{BB4A573A-1625-B133-CEFC-F42BEAA32B8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59572" y="677863"/>
            <a:ext cx="3329563" cy="186848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C6AE0948-53C0-E1B2-304E-B665A43266FB}"/>
              </a:ext>
            </a:extLst>
          </p:cNvPr>
          <p:cNvPicPr>
            <a:picLocks noChangeAspect="1"/>
          </p:cNvPicPr>
          <p:nvPr/>
        </p:nvPicPr>
        <p:blipFill>
          <a:blip r:embed="rId3"/>
          <a:stretch>
            <a:fillRect/>
          </a:stretch>
        </p:blipFill>
        <p:spPr>
          <a:xfrm>
            <a:off x="2066815" y="1767283"/>
            <a:ext cx="6121061" cy="4167928"/>
          </a:xfrm>
          <a:prstGeom prst="rect">
            <a:avLst/>
          </a:prstGeom>
        </p:spPr>
      </p:pic>
      <p:sp>
        <p:nvSpPr>
          <p:cNvPr id="2" name="Rectangle: Rounded Corners 1">
            <a:extLst>
              <a:ext uri="{FF2B5EF4-FFF2-40B4-BE49-F238E27FC236}">
                <a16:creationId xmlns:a16="http://schemas.microsoft.com/office/drawing/2014/main" id="{08B0E489-28F6-0236-65C3-48DB7551DFAD}"/>
              </a:ext>
            </a:extLst>
          </p:cNvPr>
          <p:cNvSpPr/>
          <p:nvPr/>
        </p:nvSpPr>
        <p:spPr>
          <a:xfrm>
            <a:off x="1006679" y="5132754"/>
            <a:ext cx="9487948" cy="92698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3200" dirty="0"/>
              <a:t>https://github.com/mnecker/workshop-advanced-power-platform-automation</a:t>
            </a:r>
          </a:p>
        </p:txBody>
      </p:sp>
    </p:spTree>
    <p:extLst>
      <p:ext uri="{BB962C8B-B14F-4D97-AF65-F5344CB8AC3E}">
        <p14:creationId xmlns:p14="http://schemas.microsoft.com/office/powerpoint/2010/main" val="4405302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85F13-E45E-4498-67AC-50981DD6F5C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B1631AE-0DD5-8FD5-3C55-FA0250246F07}"/>
              </a:ext>
            </a:extLst>
          </p:cNvPr>
          <p:cNvSpPr>
            <a:spLocks noGrp="1"/>
          </p:cNvSpPr>
          <p:nvPr>
            <p:ph type="title"/>
          </p:nvPr>
        </p:nvSpPr>
        <p:spPr>
          <a:xfrm>
            <a:off x="606989" y="1820411"/>
            <a:ext cx="10728157" cy="2298584"/>
          </a:xfrm>
        </p:spPr>
        <p:txBody>
          <a:bodyPr/>
          <a:lstStyle/>
          <a:p>
            <a:pPr algn="ctr"/>
            <a:r>
              <a:rPr lang="de-DE" sz="8000" dirty="0"/>
              <a:t>Custom Connector Intro</a:t>
            </a:r>
            <a:br>
              <a:rPr lang="de-DE" sz="8000" dirty="0"/>
            </a:br>
            <a:r>
              <a:rPr lang="de-DE" sz="8000" dirty="0"/>
              <a:t>🙂</a:t>
            </a:r>
          </a:p>
        </p:txBody>
      </p:sp>
      <p:sp>
        <p:nvSpPr>
          <p:cNvPr id="5" name="Slide Number Placeholder 4">
            <a:extLst>
              <a:ext uri="{FF2B5EF4-FFF2-40B4-BE49-F238E27FC236}">
                <a16:creationId xmlns:a16="http://schemas.microsoft.com/office/drawing/2014/main" id="{151EDC02-8D5E-5CFB-99C1-036EDC1EE78E}"/>
              </a:ext>
            </a:extLst>
          </p:cNvPr>
          <p:cNvSpPr>
            <a:spLocks noGrp="1"/>
          </p:cNvSpPr>
          <p:nvPr>
            <p:ph type="sldNum" sz="quarter" idx="4294967295"/>
          </p:nvPr>
        </p:nvSpPr>
        <p:spPr>
          <a:xfrm>
            <a:off x="9197975" y="6361113"/>
            <a:ext cx="2994025" cy="360362"/>
          </a:xfrm>
          <a:prstGeom prst="rect">
            <a:avLst/>
          </a:prstGeom>
        </p:spPr>
        <p:txBody>
          <a:bodyPr/>
          <a:lstStyle/>
          <a:p>
            <a:fld id="{38A2B098-C640-ED48-8BF9-C82891310785}" type="slidenum">
              <a:rPr lang="en-US" smtClean="0"/>
              <a:t>3</a:t>
            </a:fld>
            <a:endParaRPr lang="en-US"/>
          </a:p>
        </p:txBody>
      </p:sp>
    </p:spTree>
    <p:extLst>
      <p:ext uri="{BB962C8B-B14F-4D97-AF65-F5344CB8AC3E}">
        <p14:creationId xmlns:p14="http://schemas.microsoft.com/office/powerpoint/2010/main" val="3992426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3FBCB-1AF4-EE0C-4D0D-3616A6A8F27F}"/>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4CD86F0F-7695-641C-200E-557E1E4AEE6F}"/>
              </a:ext>
            </a:extLst>
          </p:cNvPr>
          <p:cNvSpPr>
            <a:spLocks noGrp="1"/>
          </p:cNvSpPr>
          <p:nvPr>
            <p:ph type="title"/>
          </p:nvPr>
        </p:nvSpPr>
        <p:spPr>
          <a:xfrm>
            <a:off x="588263" y="588963"/>
            <a:ext cx="4158362" cy="2535236"/>
          </a:xfrm>
        </p:spPr>
        <p:txBody>
          <a:bodyPr vert="horz" wrap="square" lIns="0" tIns="0" rIns="0" bIns="0" rtlCol="0" anchor="b">
            <a:normAutofit fontScale="90000"/>
          </a:bodyPr>
          <a:lstStyle/>
          <a:p>
            <a:pPr algn="ctr"/>
            <a:r>
              <a:rPr lang="en-US" sz="4000" b="0" kern="1200" cap="none" spc="-50" baseline="0" noProof="0" dirty="0">
                <a:ln w="3175">
                  <a:noFill/>
                </a:ln>
                <a:effectLst/>
                <a:ea typeface="+mn-ea"/>
                <a:cs typeface="Segoe UI" pitchFamily="34" charset="0"/>
              </a:rPr>
              <a:t>🔌</a:t>
            </a:r>
            <a:br>
              <a:rPr lang="en-US" sz="4000" b="0" kern="1200" cap="none" spc="-50" baseline="0" noProof="0" dirty="0">
                <a:ln w="3175">
                  <a:noFill/>
                </a:ln>
                <a:effectLst/>
                <a:ea typeface="+mn-ea"/>
                <a:cs typeface="Segoe UI" pitchFamily="34" charset="0"/>
              </a:rPr>
            </a:br>
            <a:r>
              <a:rPr lang="en-US" sz="4000" b="0" kern="1200" cap="none" spc="-50" baseline="0" noProof="0" dirty="0">
                <a:ln w="3175">
                  <a:noFill/>
                </a:ln>
                <a:effectLst/>
                <a:ea typeface="+mn-ea"/>
                <a:cs typeface="Segoe UI" pitchFamily="34" charset="0"/>
              </a:rPr>
              <a:t>Standard </a:t>
            </a:r>
            <a:r>
              <a:rPr lang="en-US" sz="4000" b="0" kern="1200" cap="none" spc="-50" baseline="0" noProof="0" dirty="0">
                <a:ln w="3175">
                  <a:noFill/>
                </a:ln>
                <a:effectLst/>
                <a:cs typeface="Poppins SemiBold" panose="00000700000000000000" pitchFamily="2" charset="0"/>
              </a:rPr>
              <a:t>Connect</a:t>
            </a:r>
            <a:r>
              <a:rPr lang="en-US" sz="4000" spc="-50" noProof="0" dirty="0">
                <a:ln w="3175">
                  <a:noFill/>
                </a:ln>
                <a:cs typeface="Poppins SemiBold" panose="00000700000000000000" pitchFamily="2" charset="0"/>
              </a:rPr>
              <a:t>ors</a:t>
            </a:r>
            <a:br>
              <a:rPr lang="en-US" sz="4000" b="0" kern="1200" cap="none" spc="-50" baseline="0" noProof="0" dirty="0">
                <a:ln w="3175">
                  <a:noFill/>
                </a:ln>
                <a:effectLst/>
                <a:cs typeface="Poppins SemiBold" panose="00000700000000000000" pitchFamily="2" charset="0"/>
              </a:rPr>
            </a:br>
            <a:br>
              <a:rPr lang="en-US" sz="4000" b="0" kern="1200" cap="none" spc="-50" baseline="0" noProof="0" dirty="0">
                <a:ln w="3175">
                  <a:noFill/>
                </a:ln>
                <a:effectLst/>
                <a:cs typeface="Poppins SemiBold" panose="00000700000000000000" pitchFamily="2" charset="0"/>
              </a:rPr>
            </a:br>
            <a:r>
              <a:rPr lang="en-US" sz="4000" b="0" kern="1200" cap="none" spc="-50" baseline="0" noProof="0" dirty="0">
                <a:ln w="3175">
                  <a:noFill/>
                </a:ln>
                <a:effectLst/>
                <a:cs typeface="Poppins SemiBold" panose="00000700000000000000" pitchFamily="2" charset="0"/>
              </a:rPr>
              <a:t> 📈  Over 1600</a:t>
            </a:r>
          </a:p>
        </p:txBody>
      </p:sp>
      <p:sp>
        <p:nvSpPr>
          <p:cNvPr id="7" name="Textfeld 6">
            <a:extLst>
              <a:ext uri="{FF2B5EF4-FFF2-40B4-BE49-F238E27FC236}">
                <a16:creationId xmlns:a16="http://schemas.microsoft.com/office/drawing/2014/main" id="{3246DBAA-AF53-AA42-4406-C63CC01A97D8}"/>
              </a:ext>
            </a:extLst>
          </p:cNvPr>
          <p:cNvSpPr txBox="1"/>
          <p:nvPr/>
        </p:nvSpPr>
        <p:spPr>
          <a:xfrm>
            <a:off x="584200" y="3966817"/>
            <a:ext cx="4162425" cy="1951037"/>
          </a:xfrm>
          <a:prstGeom prst="rect">
            <a:avLst/>
          </a:prstGeom>
        </p:spPr>
        <p:txBody>
          <a:bodyPr vert="horz" wrap="square" lIns="0" tIns="0" rIns="0" bIns="0" rtlCol="0">
            <a:norm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200" b="1" i="0" u="none" strike="noStrike" kern="1200" cap="none" spc="0" normalizeH="0" baseline="0" noProof="0" dirty="0">
                <a:ln>
                  <a:noFill/>
                </a:ln>
                <a:solidFill>
                  <a:srgbClr val="000000"/>
                </a:solidFill>
                <a:effectLst/>
                <a:uLnTx/>
                <a:uFillTx/>
                <a:latin typeface="Aptos Display" panose="02110004020202020204"/>
                <a:ea typeface="+mn-ea"/>
                <a:cs typeface="Poppins SemiBold" panose="00000700000000000000" pitchFamily="2" charset="0"/>
              </a:rPr>
              <a:t>Added all the time, </a:t>
            </a:r>
          </a:p>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200" b="1" i="0" u="none" strike="noStrike" kern="1200" cap="none" spc="0" normalizeH="0" baseline="0" noProof="0" dirty="0">
                <a:ln>
                  <a:noFill/>
                </a:ln>
                <a:solidFill>
                  <a:srgbClr val="000000"/>
                </a:solidFill>
                <a:effectLst/>
                <a:uLnTx/>
                <a:uFillTx/>
                <a:latin typeface="Aptos Display" panose="02110004020202020204"/>
                <a:ea typeface="+mn-ea"/>
                <a:cs typeface="Poppins SemiBold" panose="00000700000000000000" pitchFamily="2" charset="0"/>
              </a:rPr>
              <a:t>Always check them first!</a:t>
            </a:r>
          </a:p>
        </p:txBody>
      </p:sp>
      <p:pic>
        <p:nvPicPr>
          <p:cNvPr id="12296" name="Picture 2" descr="The Ultimate Guide To Power Automate Connectors - vrogue.co">
            <a:extLst>
              <a:ext uri="{FF2B5EF4-FFF2-40B4-BE49-F238E27FC236}">
                <a16:creationId xmlns:a16="http://schemas.microsoft.com/office/drawing/2014/main" id="{53F1DAB4-9038-70FB-CF37-DF043A1F024B}"/>
              </a:ext>
            </a:extLst>
          </p:cNvPr>
          <p:cNvPicPr>
            <a:picLocks noGrp="1" noChangeAspect="1" noChangeArrowheads="1"/>
          </p:cNvPicPr>
          <p:nvPr>
            <p:ph type="pic" sz="quarter" idx="11"/>
          </p:nvPr>
        </p:nvPicPr>
        <p:blipFill>
          <a:blip r:embed="rId2">
            <a:extLst>
              <a:ext uri="{28A0092B-C50C-407E-A947-70E740481C1C}">
                <a14:useLocalDpi xmlns:a14="http://schemas.microsoft.com/office/drawing/2010/main" val="0"/>
              </a:ext>
            </a:extLst>
          </a:blip>
          <a:srcRect l="33332" r="4" b="4"/>
          <a:stretch/>
        </p:blipFill>
        <p:spPr bwMode="auto">
          <a:xfrm>
            <a:off x="5334000" y="10"/>
            <a:ext cx="6858000" cy="6857990"/>
          </a:xfrm>
          <a:prstGeom prst="rect">
            <a:avLst/>
          </a:prstGeom>
          <a:noFill/>
        </p:spPr>
      </p:pic>
    </p:spTree>
    <p:extLst>
      <p:ext uri="{BB962C8B-B14F-4D97-AF65-F5344CB8AC3E}">
        <p14:creationId xmlns:p14="http://schemas.microsoft.com/office/powerpoint/2010/main" val="401905848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1D4D276F-0E62-7839-78B1-F8F4A274A7F2}"/>
              </a:ext>
            </a:extLst>
          </p:cNvPr>
          <p:cNvSpPr>
            <a:spLocks noGrp="1"/>
          </p:cNvSpPr>
          <p:nvPr>
            <p:ph type="subTitle" idx="10"/>
          </p:nvPr>
        </p:nvSpPr>
        <p:spPr>
          <a:xfrm rot="20944348">
            <a:off x="387321" y="884368"/>
            <a:ext cx="3761197" cy="957600"/>
          </a:xfrm>
          <a:solidFill>
            <a:srgbClr val="3679FC"/>
          </a:solidFill>
        </p:spPr>
        <p:txBody>
          <a:bodyPr>
            <a:normAutofit fontScale="62500" lnSpcReduction="20000"/>
          </a:bodyPr>
          <a:lstStyle/>
          <a:p>
            <a:r>
              <a:rPr lang="en-US" noProof="0" dirty="0"/>
              <a:t>You want more?</a:t>
            </a:r>
          </a:p>
        </p:txBody>
      </p:sp>
      <p:sp>
        <p:nvSpPr>
          <p:cNvPr id="10" name="Title 9">
            <a:extLst>
              <a:ext uri="{FF2B5EF4-FFF2-40B4-BE49-F238E27FC236}">
                <a16:creationId xmlns:a16="http://schemas.microsoft.com/office/drawing/2014/main" id="{A310D5A3-E9C4-46A3-6161-3B609BB028BA}"/>
              </a:ext>
            </a:extLst>
          </p:cNvPr>
          <p:cNvSpPr>
            <a:spLocks noGrp="1"/>
          </p:cNvSpPr>
          <p:nvPr>
            <p:ph type="title"/>
          </p:nvPr>
        </p:nvSpPr>
        <p:spPr>
          <a:xfrm>
            <a:off x="929640" y="2189787"/>
            <a:ext cx="10515600" cy="1984126"/>
          </a:xfrm>
        </p:spPr>
        <p:txBody>
          <a:bodyPr>
            <a:normAutofit/>
          </a:bodyPr>
          <a:lstStyle/>
          <a:p>
            <a:r>
              <a:rPr lang="en-US" noProof="0" dirty="0"/>
              <a:t>Create your own </a:t>
            </a:r>
            <a:br>
              <a:rPr lang="en-US" noProof="0" dirty="0"/>
            </a:br>
            <a:r>
              <a:rPr lang="en-US" noProof="0" dirty="0">
                <a:solidFill>
                  <a:srgbClr val="3679FC"/>
                </a:solidFill>
              </a:rPr>
              <a:t>Custom Connectors</a:t>
            </a:r>
          </a:p>
        </p:txBody>
      </p:sp>
      <p:sp>
        <p:nvSpPr>
          <p:cNvPr id="11" name="Text Placeholder 10">
            <a:extLst>
              <a:ext uri="{FF2B5EF4-FFF2-40B4-BE49-F238E27FC236}">
                <a16:creationId xmlns:a16="http://schemas.microsoft.com/office/drawing/2014/main" id="{4A4920F8-F0B0-B8B0-EFA5-0AD586AB1D3A}"/>
              </a:ext>
            </a:extLst>
          </p:cNvPr>
          <p:cNvSpPr>
            <a:spLocks noGrp="1"/>
          </p:cNvSpPr>
          <p:nvPr>
            <p:ph type="body" idx="1"/>
          </p:nvPr>
        </p:nvSpPr>
        <p:spPr>
          <a:xfrm>
            <a:off x="929640" y="4242599"/>
            <a:ext cx="10424160" cy="1793625"/>
          </a:xfrm>
        </p:spPr>
        <p:txBody>
          <a:bodyPr/>
          <a:lstStyle/>
          <a:p>
            <a:r>
              <a:rPr lang="en-US" noProof="0" dirty="0"/>
              <a:t>When there is no standard</a:t>
            </a:r>
          </a:p>
          <a:p>
            <a:r>
              <a:rPr lang="en-US" noProof="0" dirty="0"/>
              <a:t>Unlimited # of possibilities</a:t>
            </a:r>
          </a:p>
          <a:p>
            <a:endParaRPr lang="en-US" noProof="0" dirty="0"/>
          </a:p>
          <a:p>
            <a:r>
              <a:rPr lang="en-US" noProof="0" dirty="0"/>
              <a:t>Wrapper for any </a:t>
            </a:r>
            <a:r>
              <a:rPr lang="en-US" noProof="0" dirty="0" err="1"/>
              <a:t>api</a:t>
            </a:r>
            <a:r>
              <a:rPr lang="en-US" noProof="0" dirty="0"/>
              <a:t> / webservice </a:t>
            </a:r>
          </a:p>
        </p:txBody>
      </p:sp>
    </p:spTree>
    <p:extLst>
      <p:ext uri="{BB962C8B-B14F-4D97-AF65-F5344CB8AC3E}">
        <p14:creationId xmlns:p14="http://schemas.microsoft.com/office/powerpoint/2010/main" val="16341604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pieren 9">
            <a:extLst>
              <a:ext uri="{FF2B5EF4-FFF2-40B4-BE49-F238E27FC236}">
                <a16:creationId xmlns:a16="http://schemas.microsoft.com/office/drawing/2014/main" id="{43DF8980-173D-2F3D-9ECB-17BD2F3F2E69}"/>
              </a:ext>
            </a:extLst>
          </p:cNvPr>
          <p:cNvGrpSpPr/>
          <p:nvPr/>
        </p:nvGrpSpPr>
        <p:grpSpPr>
          <a:xfrm>
            <a:off x="8906552" y="2427504"/>
            <a:ext cx="3490201" cy="3490201"/>
            <a:chOff x="7690088" y="1577057"/>
            <a:chExt cx="4407773" cy="4407773"/>
          </a:xfrm>
        </p:grpSpPr>
        <p:pic>
          <p:nvPicPr>
            <p:cNvPr id="11" name="Grafik 10" descr="Cloud Silhouette">
              <a:extLst>
                <a:ext uri="{FF2B5EF4-FFF2-40B4-BE49-F238E27FC236}">
                  <a16:creationId xmlns:a16="http://schemas.microsoft.com/office/drawing/2014/main" id="{E60F6348-4F8C-C0E5-58E9-0A4B46ED69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90088" y="1577057"/>
              <a:ext cx="4407773" cy="4407773"/>
            </a:xfrm>
            <a:prstGeom prst="rect">
              <a:avLst/>
            </a:prstGeom>
          </p:spPr>
        </p:pic>
        <p:pic>
          <p:nvPicPr>
            <p:cNvPr id="12" name="Grafik 11">
              <a:extLst>
                <a:ext uri="{FF2B5EF4-FFF2-40B4-BE49-F238E27FC236}">
                  <a16:creationId xmlns:a16="http://schemas.microsoft.com/office/drawing/2014/main" id="{6ECD9574-FBE6-9097-6C2F-7F738D00CF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39466" y="3441681"/>
              <a:ext cx="859564" cy="859564"/>
            </a:xfrm>
            <a:prstGeom prst="rect">
              <a:avLst/>
            </a:prstGeom>
          </p:spPr>
        </p:pic>
      </p:grpSp>
      <p:sp>
        <p:nvSpPr>
          <p:cNvPr id="13" name="Titel 1">
            <a:extLst>
              <a:ext uri="{FF2B5EF4-FFF2-40B4-BE49-F238E27FC236}">
                <a16:creationId xmlns:a16="http://schemas.microsoft.com/office/drawing/2014/main" id="{4CE7C36E-A1A4-D2D6-FD3A-CC2390349AD6}"/>
              </a:ext>
            </a:extLst>
          </p:cNvPr>
          <p:cNvSpPr txBox="1">
            <a:spLocks/>
          </p:cNvSpPr>
          <p:nvPr/>
        </p:nvSpPr>
        <p:spPr>
          <a:xfrm>
            <a:off x="8651799" y="5119869"/>
            <a:ext cx="3999703" cy="955948"/>
          </a:xfrm>
          <a:prstGeom prst="rect">
            <a:avLst/>
          </a:prstGeom>
        </p:spPr>
        <p:txBody>
          <a:bodyPr vert="horz" lIns="121920" tIns="60960" rIns="121920" bIns="60960" rtlCol="0" anchor="ctr">
            <a:normAutofit/>
          </a:bodyPr>
          <a:lstStyle>
            <a:lvl1pPr algn="ctr" defTabSz="914400" rtl="0" eaLnBrk="1" latinLnBrk="0" hangingPunct="1">
              <a:lnSpc>
                <a:spcPct val="90000"/>
              </a:lnSpc>
              <a:spcBef>
                <a:spcPct val="0"/>
              </a:spcBef>
              <a:buNone/>
              <a:defRPr sz="3600" kern="1200">
                <a:ln>
                  <a:solidFill>
                    <a:schemeClr val="bg1"/>
                  </a:solidFill>
                </a:ln>
                <a:solidFill>
                  <a:schemeClr val="accent6"/>
                </a:solidFill>
                <a:effectLst>
                  <a:outerShdw dist="38100" dir="2700000" algn="tl" rotWithShape="0">
                    <a:schemeClr val="accent2"/>
                  </a:outerShdw>
                </a:effectLst>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solidFill>
                    <a:prstClr val="white"/>
                  </a:solidFill>
                </a:ln>
                <a:solidFill>
                  <a:prstClr val="black"/>
                </a:solidFill>
                <a:effectLst/>
                <a:uLnTx/>
                <a:uFillTx/>
                <a:latin typeface="Montserrat SemiBold" panose="00000700000000000000" pitchFamily="2" charset="0"/>
                <a:ea typeface="+mj-ea"/>
                <a:cs typeface="Segoe UI Semibold" panose="020B0702040204020203" pitchFamily="34" charset="0"/>
              </a:rPr>
              <a:t>Cloud API</a:t>
            </a:r>
          </a:p>
        </p:txBody>
      </p:sp>
      <p:pic>
        <p:nvPicPr>
          <p:cNvPr id="14" name="Grafik 13">
            <a:extLst>
              <a:ext uri="{FF2B5EF4-FFF2-40B4-BE49-F238E27FC236}">
                <a16:creationId xmlns:a16="http://schemas.microsoft.com/office/drawing/2014/main" id="{33C6637A-184A-A879-E44C-CF89AFFEC94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13835" y="2332868"/>
            <a:ext cx="1229525" cy="1229525"/>
          </a:xfrm>
          <a:prstGeom prst="rect">
            <a:avLst/>
          </a:prstGeom>
          <a:effectLst>
            <a:outerShdw blurRad="63500" sx="102000" sy="102000" algn="ctr" rotWithShape="0">
              <a:prstClr val="black">
                <a:alpha val="40000"/>
              </a:prstClr>
            </a:outerShdw>
          </a:effectLst>
        </p:spPr>
      </p:pic>
      <p:pic>
        <p:nvPicPr>
          <p:cNvPr id="15" name="Grafik 14">
            <a:extLst>
              <a:ext uri="{FF2B5EF4-FFF2-40B4-BE49-F238E27FC236}">
                <a16:creationId xmlns:a16="http://schemas.microsoft.com/office/drawing/2014/main" id="{0169D26C-49B9-49AA-0F66-173CC87FB6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63086" y="5187314"/>
            <a:ext cx="1091596" cy="1091596"/>
          </a:xfrm>
          <a:prstGeom prst="rect">
            <a:avLst/>
          </a:prstGeom>
          <a:effectLst>
            <a:outerShdw blurRad="63500" sx="102000" sy="102000" algn="ctr" rotWithShape="0">
              <a:prstClr val="black">
                <a:alpha val="40000"/>
              </a:prstClr>
            </a:outerShdw>
          </a:effectLst>
        </p:spPr>
      </p:pic>
      <p:pic>
        <p:nvPicPr>
          <p:cNvPr id="16" name="Grafik 15">
            <a:extLst>
              <a:ext uri="{FF2B5EF4-FFF2-40B4-BE49-F238E27FC236}">
                <a16:creationId xmlns:a16="http://schemas.microsoft.com/office/drawing/2014/main" id="{266DA609-EE56-8E9D-80B4-1C5E090C6BA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9686" y="3990913"/>
            <a:ext cx="1093439" cy="1093439"/>
          </a:xfrm>
          <a:prstGeom prst="rect">
            <a:avLst/>
          </a:prstGeom>
          <a:effectLst>
            <a:outerShdw blurRad="63500" sx="102000" sy="102000" algn="ctr" rotWithShape="0">
              <a:prstClr val="black">
                <a:alpha val="40000"/>
              </a:prstClr>
            </a:outerShdw>
          </a:effectLst>
        </p:spPr>
      </p:pic>
      <p:pic>
        <p:nvPicPr>
          <p:cNvPr id="17" name="Grafik 16">
            <a:extLst>
              <a:ext uri="{FF2B5EF4-FFF2-40B4-BE49-F238E27FC236}">
                <a16:creationId xmlns:a16="http://schemas.microsoft.com/office/drawing/2014/main" id="{23FA5876-D9F4-F951-47D4-C464ACA8A93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389105" y="3214741"/>
            <a:ext cx="1915724" cy="1915724"/>
          </a:xfrm>
          <a:prstGeom prst="rect">
            <a:avLst/>
          </a:prstGeom>
          <a:effectLst>
            <a:outerShdw blurRad="63500" sx="102000" sy="102000" algn="ctr" rotWithShape="0">
              <a:prstClr val="black">
                <a:alpha val="40000"/>
              </a:prstClr>
            </a:outerShdw>
          </a:effectLst>
        </p:spPr>
      </p:pic>
      <p:cxnSp>
        <p:nvCxnSpPr>
          <p:cNvPr id="18" name="Gerade Verbindung mit Pfeil 17">
            <a:extLst>
              <a:ext uri="{FF2B5EF4-FFF2-40B4-BE49-F238E27FC236}">
                <a16:creationId xmlns:a16="http://schemas.microsoft.com/office/drawing/2014/main" id="{611C2F23-A5B6-A56B-AA6D-2BAA917BBA89}"/>
              </a:ext>
            </a:extLst>
          </p:cNvPr>
          <p:cNvCxnSpPr>
            <a:cxnSpLocks/>
          </p:cNvCxnSpPr>
          <p:nvPr/>
        </p:nvCxnSpPr>
        <p:spPr>
          <a:xfrm>
            <a:off x="2711502" y="3429000"/>
            <a:ext cx="1198181" cy="0"/>
          </a:xfrm>
          <a:prstGeom prst="straightConnector1">
            <a:avLst/>
          </a:prstGeom>
          <a:ln w="76200">
            <a:solidFill>
              <a:srgbClr val="3679FC"/>
            </a:solidFill>
            <a:tailEnd type="triangle"/>
          </a:ln>
          <a:effectLst>
            <a:outerShdw blurRad="63500" sx="102000" sy="102000" algn="ctr" rotWithShape="0">
              <a:prstClr val="black">
                <a:alpha val="40000"/>
              </a:prstClr>
            </a:outerShdw>
          </a:effectLst>
        </p:spPr>
        <p:style>
          <a:lnRef idx="3">
            <a:schemeClr val="accent6"/>
          </a:lnRef>
          <a:fillRef idx="0">
            <a:schemeClr val="accent6"/>
          </a:fillRef>
          <a:effectRef idx="2">
            <a:schemeClr val="accent6"/>
          </a:effectRef>
          <a:fontRef idx="minor">
            <a:schemeClr val="tx1"/>
          </a:fontRef>
        </p:style>
      </p:cxnSp>
      <p:cxnSp>
        <p:nvCxnSpPr>
          <p:cNvPr id="19" name="Gerade Verbindung mit Pfeil 18">
            <a:extLst>
              <a:ext uri="{FF2B5EF4-FFF2-40B4-BE49-F238E27FC236}">
                <a16:creationId xmlns:a16="http://schemas.microsoft.com/office/drawing/2014/main" id="{4BEBE19C-5A5D-970D-C069-5FB576176354}"/>
              </a:ext>
            </a:extLst>
          </p:cNvPr>
          <p:cNvCxnSpPr>
            <a:cxnSpLocks/>
          </p:cNvCxnSpPr>
          <p:nvPr/>
        </p:nvCxnSpPr>
        <p:spPr>
          <a:xfrm flipH="1">
            <a:off x="2615529" y="4508435"/>
            <a:ext cx="1206360" cy="0"/>
          </a:xfrm>
          <a:prstGeom prst="straightConnector1">
            <a:avLst/>
          </a:prstGeom>
          <a:ln w="76200">
            <a:solidFill>
              <a:srgbClr val="3679FC"/>
            </a:solidFill>
            <a:tailEnd type="triangle"/>
          </a:ln>
          <a:effectLst>
            <a:outerShdw blurRad="63500" sx="102000" sy="102000" algn="ctr" rotWithShape="0">
              <a:prstClr val="black">
                <a:alpha val="40000"/>
              </a:prstClr>
            </a:outerShdw>
          </a:effectLst>
        </p:spPr>
        <p:style>
          <a:lnRef idx="3">
            <a:schemeClr val="accent6"/>
          </a:lnRef>
          <a:fillRef idx="0">
            <a:schemeClr val="accent6"/>
          </a:fillRef>
          <a:effectRef idx="2">
            <a:schemeClr val="accent6"/>
          </a:effectRef>
          <a:fontRef idx="minor">
            <a:schemeClr val="tx1"/>
          </a:fontRef>
        </p:style>
      </p:cxnSp>
      <p:sp>
        <p:nvSpPr>
          <p:cNvPr id="20" name="Titel 1">
            <a:extLst>
              <a:ext uri="{FF2B5EF4-FFF2-40B4-BE49-F238E27FC236}">
                <a16:creationId xmlns:a16="http://schemas.microsoft.com/office/drawing/2014/main" id="{9D0FE2DE-019F-2216-A077-8E05092AAA5E}"/>
              </a:ext>
            </a:extLst>
          </p:cNvPr>
          <p:cNvSpPr txBox="1">
            <a:spLocks/>
          </p:cNvSpPr>
          <p:nvPr/>
        </p:nvSpPr>
        <p:spPr>
          <a:xfrm>
            <a:off x="3510938" y="3190704"/>
            <a:ext cx="2422801" cy="498584"/>
          </a:xfrm>
          <a:prstGeom prst="rect">
            <a:avLst/>
          </a:prstGeom>
        </p:spPr>
        <p:txBody>
          <a:bodyPr vert="horz" lIns="121920" tIns="60960" rIns="121920" bIns="60960" rtlCol="0" anchor="ctr">
            <a:normAutofit/>
          </a:bodyPr>
          <a:lstStyle>
            <a:lvl1pPr algn="ctr" defTabSz="914400" rtl="0" eaLnBrk="1" latinLnBrk="0" hangingPunct="1">
              <a:lnSpc>
                <a:spcPct val="90000"/>
              </a:lnSpc>
              <a:spcBef>
                <a:spcPct val="0"/>
              </a:spcBef>
              <a:buNone/>
              <a:defRPr sz="3600" kern="1200">
                <a:ln>
                  <a:solidFill>
                    <a:schemeClr val="bg1"/>
                  </a:solidFill>
                </a:ln>
                <a:solidFill>
                  <a:schemeClr val="accent6"/>
                </a:solidFill>
                <a:effectLst>
                  <a:outerShdw dist="38100" dir="2700000" algn="tl" rotWithShape="0">
                    <a:schemeClr val="accent2"/>
                  </a:outerShdw>
                </a:effectLst>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solidFill>
                    <a:prstClr val="white"/>
                  </a:solidFill>
                </a:ln>
                <a:solidFill>
                  <a:prstClr val="black"/>
                </a:solidFill>
                <a:effectLst/>
                <a:uLnTx/>
                <a:uFillTx/>
                <a:latin typeface="Montserrat SemiBold" panose="00000700000000000000" pitchFamily="2" charset="0"/>
                <a:ea typeface="+mj-ea"/>
                <a:cs typeface="Segoe UI Semibold" panose="020B0702040204020203" pitchFamily="34" charset="0"/>
              </a:rPr>
              <a:t>Actions</a:t>
            </a:r>
          </a:p>
        </p:txBody>
      </p:sp>
      <p:cxnSp>
        <p:nvCxnSpPr>
          <p:cNvPr id="22" name="Gerade Verbindung mit Pfeil 21">
            <a:extLst>
              <a:ext uri="{FF2B5EF4-FFF2-40B4-BE49-F238E27FC236}">
                <a16:creationId xmlns:a16="http://schemas.microsoft.com/office/drawing/2014/main" id="{4B40FCFE-6B98-A39C-9617-3512CAE83F06}"/>
              </a:ext>
            </a:extLst>
          </p:cNvPr>
          <p:cNvCxnSpPr>
            <a:cxnSpLocks/>
          </p:cNvCxnSpPr>
          <p:nvPr/>
        </p:nvCxnSpPr>
        <p:spPr>
          <a:xfrm>
            <a:off x="7338563" y="4061820"/>
            <a:ext cx="1567988" cy="0"/>
          </a:xfrm>
          <a:prstGeom prst="straightConnector1">
            <a:avLst/>
          </a:prstGeom>
          <a:ln w="76200">
            <a:solidFill>
              <a:srgbClr val="3679FC"/>
            </a:solidFill>
            <a:headEnd type="triangle" w="med" len="med"/>
            <a:tailEnd type="triangle" w="med" len="med"/>
          </a:ln>
          <a:effectLst>
            <a:outerShdw blurRad="63500" sx="102000" sy="102000" algn="ctr" rotWithShape="0">
              <a:prstClr val="black">
                <a:alpha val="40000"/>
              </a:prstClr>
            </a:outerShdw>
          </a:effectLst>
        </p:spPr>
        <p:style>
          <a:lnRef idx="3">
            <a:schemeClr val="accent6"/>
          </a:lnRef>
          <a:fillRef idx="0">
            <a:schemeClr val="accent6"/>
          </a:fillRef>
          <a:effectRef idx="2">
            <a:schemeClr val="accent6"/>
          </a:effectRef>
          <a:fontRef idx="minor">
            <a:schemeClr val="tx1"/>
          </a:fontRef>
        </p:style>
      </p:cxnSp>
      <p:sp>
        <p:nvSpPr>
          <p:cNvPr id="23" name="Titel 1">
            <a:extLst>
              <a:ext uri="{FF2B5EF4-FFF2-40B4-BE49-F238E27FC236}">
                <a16:creationId xmlns:a16="http://schemas.microsoft.com/office/drawing/2014/main" id="{95C5E3E3-292F-22A6-C369-7FAA72D2D380}"/>
              </a:ext>
            </a:extLst>
          </p:cNvPr>
          <p:cNvSpPr txBox="1">
            <a:spLocks/>
          </p:cNvSpPr>
          <p:nvPr/>
        </p:nvSpPr>
        <p:spPr>
          <a:xfrm>
            <a:off x="6887708" y="4273123"/>
            <a:ext cx="2422801" cy="498584"/>
          </a:xfrm>
          <a:prstGeom prst="rect">
            <a:avLst/>
          </a:prstGeom>
        </p:spPr>
        <p:txBody>
          <a:bodyPr vert="horz" lIns="121920" tIns="60960" rIns="121920" bIns="60960" rtlCol="0" anchor="ctr">
            <a:normAutofit/>
          </a:bodyPr>
          <a:lstStyle>
            <a:lvl1pPr algn="ctr" defTabSz="914400" rtl="0" eaLnBrk="1" latinLnBrk="0" hangingPunct="1">
              <a:lnSpc>
                <a:spcPct val="90000"/>
              </a:lnSpc>
              <a:spcBef>
                <a:spcPct val="0"/>
              </a:spcBef>
              <a:buNone/>
              <a:defRPr sz="3600" kern="1200">
                <a:ln>
                  <a:solidFill>
                    <a:schemeClr val="bg1"/>
                  </a:solidFill>
                </a:ln>
                <a:solidFill>
                  <a:schemeClr val="accent6"/>
                </a:solidFill>
                <a:effectLst>
                  <a:outerShdw dist="38100" dir="2700000" algn="tl" rotWithShape="0">
                    <a:schemeClr val="accent2"/>
                  </a:outerShdw>
                </a:effectLst>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solidFill>
                    <a:prstClr val="white"/>
                  </a:solidFill>
                </a:ln>
                <a:solidFill>
                  <a:prstClr val="black"/>
                </a:solidFill>
                <a:effectLst/>
                <a:uLnTx/>
                <a:uFillTx/>
                <a:latin typeface="Montserrat SemiBold" panose="00000700000000000000" pitchFamily="2" charset="0"/>
                <a:ea typeface="+mj-ea"/>
                <a:cs typeface="Segoe UI Semibold" panose="020B0702040204020203" pitchFamily="34" charset="0"/>
              </a:rPr>
              <a:t>HTTP</a:t>
            </a:r>
          </a:p>
        </p:txBody>
      </p:sp>
      <p:sp>
        <p:nvSpPr>
          <p:cNvPr id="45" name="Titel 1">
            <a:extLst>
              <a:ext uri="{FF2B5EF4-FFF2-40B4-BE49-F238E27FC236}">
                <a16:creationId xmlns:a16="http://schemas.microsoft.com/office/drawing/2014/main" id="{2B2A8D05-C6D1-21C5-3EC6-9D004F781CDF}"/>
              </a:ext>
            </a:extLst>
          </p:cNvPr>
          <p:cNvSpPr txBox="1">
            <a:spLocks/>
          </p:cNvSpPr>
          <p:nvPr/>
        </p:nvSpPr>
        <p:spPr>
          <a:xfrm>
            <a:off x="3540218" y="4255853"/>
            <a:ext cx="2422801" cy="498584"/>
          </a:xfrm>
          <a:prstGeom prst="rect">
            <a:avLst/>
          </a:prstGeom>
        </p:spPr>
        <p:txBody>
          <a:bodyPr vert="horz" lIns="121920" tIns="60960" rIns="121920" bIns="60960" rtlCol="0" anchor="ctr">
            <a:normAutofit/>
          </a:bodyPr>
          <a:lstStyle>
            <a:lvl1pPr algn="ctr" defTabSz="914400" rtl="0" eaLnBrk="1" latinLnBrk="0" hangingPunct="1">
              <a:lnSpc>
                <a:spcPct val="90000"/>
              </a:lnSpc>
              <a:spcBef>
                <a:spcPct val="0"/>
              </a:spcBef>
              <a:buNone/>
              <a:defRPr sz="3600" kern="1200">
                <a:ln>
                  <a:solidFill>
                    <a:schemeClr val="bg1"/>
                  </a:solidFill>
                </a:ln>
                <a:solidFill>
                  <a:schemeClr val="accent6"/>
                </a:solidFill>
                <a:effectLst>
                  <a:outerShdw dist="38100" dir="2700000" algn="tl" rotWithShape="0">
                    <a:schemeClr val="accent2"/>
                  </a:outerShdw>
                </a:effectLst>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solidFill>
                    <a:prstClr val="white"/>
                  </a:solidFill>
                </a:ln>
                <a:solidFill>
                  <a:prstClr val="black"/>
                </a:solidFill>
                <a:effectLst/>
                <a:uLnTx/>
                <a:uFillTx/>
                <a:latin typeface="Montserrat SemiBold" panose="00000700000000000000" pitchFamily="2" charset="0"/>
                <a:ea typeface="+mj-ea"/>
                <a:cs typeface="Segoe UI Semibold" panose="020B0702040204020203" pitchFamily="34" charset="0"/>
              </a:rPr>
              <a:t>Triggers</a:t>
            </a:r>
          </a:p>
        </p:txBody>
      </p:sp>
      <p:sp>
        <p:nvSpPr>
          <p:cNvPr id="2" name="Title 1">
            <a:extLst>
              <a:ext uri="{FF2B5EF4-FFF2-40B4-BE49-F238E27FC236}">
                <a16:creationId xmlns:a16="http://schemas.microsoft.com/office/drawing/2014/main" id="{48CDBFC6-83F7-C747-531D-0E865C80443C}"/>
              </a:ext>
            </a:extLst>
          </p:cNvPr>
          <p:cNvSpPr>
            <a:spLocks noGrp="1"/>
          </p:cNvSpPr>
          <p:nvPr>
            <p:ph type="title"/>
          </p:nvPr>
        </p:nvSpPr>
        <p:spPr/>
        <p:txBody>
          <a:bodyPr/>
          <a:lstStyle/>
          <a:p>
            <a:r>
              <a:rPr lang="en-US" sz="4400" dirty="0">
                <a:solidFill>
                  <a:srgbClr val="3679FC"/>
                </a:solidFill>
                <a:cs typeface="Segoe UI Semibold" panose="020B0702040204020203" pitchFamily="34" charset="0"/>
              </a:rPr>
              <a:t>How do they work?</a:t>
            </a:r>
            <a:endParaRPr lang="de-DE" dirty="0">
              <a:solidFill>
                <a:srgbClr val="3679FC"/>
              </a:solidFill>
            </a:endParaRPr>
          </a:p>
        </p:txBody>
      </p:sp>
    </p:spTree>
    <p:extLst>
      <p:ext uri="{BB962C8B-B14F-4D97-AF65-F5344CB8AC3E}">
        <p14:creationId xmlns:p14="http://schemas.microsoft.com/office/powerpoint/2010/main" val="1450665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3" grpId="0"/>
      <p:bldP spid="4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33C6637A-184A-A879-E44C-CF89AFFEC9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3835" y="2332868"/>
            <a:ext cx="1229525" cy="1229525"/>
          </a:xfrm>
          <a:prstGeom prst="rect">
            <a:avLst/>
          </a:prstGeom>
          <a:effectLst>
            <a:outerShdw blurRad="63500" sx="102000" sy="102000" algn="ctr" rotWithShape="0">
              <a:prstClr val="black">
                <a:alpha val="40000"/>
              </a:prstClr>
            </a:outerShdw>
          </a:effectLst>
        </p:spPr>
      </p:pic>
      <p:pic>
        <p:nvPicPr>
          <p:cNvPr id="15" name="Grafik 14">
            <a:extLst>
              <a:ext uri="{FF2B5EF4-FFF2-40B4-BE49-F238E27FC236}">
                <a16:creationId xmlns:a16="http://schemas.microsoft.com/office/drawing/2014/main" id="{0169D26C-49B9-49AA-0F66-173CC87FB6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63086" y="5187314"/>
            <a:ext cx="1091596" cy="1091596"/>
          </a:xfrm>
          <a:prstGeom prst="rect">
            <a:avLst/>
          </a:prstGeom>
          <a:effectLst>
            <a:outerShdw blurRad="63500" sx="102000" sy="102000" algn="ctr" rotWithShape="0">
              <a:prstClr val="black">
                <a:alpha val="40000"/>
              </a:prstClr>
            </a:outerShdw>
          </a:effectLst>
        </p:spPr>
      </p:pic>
      <p:pic>
        <p:nvPicPr>
          <p:cNvPr id="16" name="Grafik 15">
            <a:extLst>
              <a:ext uri="{FF2B5EF4-FFF2-40B4-BE49-F238E27FC236}">
                <a16:creationId xmlns:a16="http://schemas.microsoft.com/office/drawing/2014/main" id="{266DA609-EE56-8E9D-80B4-1C5E090C6BA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9686" y="3990913"/>
            <a:ext cx="1093439" cy="1093439"/>
          </a:xfrm>
          <a:prstGeom prst="rect">
            <a:avLst/>
          </a:prstGeom>
          <a:effectLst>
            <a:outerShdw blurRad="63500" sx="102000" sy="102000" algn="ctr" rotWithShape="0">
              <a:prstClr val="black">
                <a:alpha val="40000"/>
              </a:prstClr>
            </a:outerShdw>
          </a:effectLst>
        </p:spPr>
      </p:pic>
      <p:pic>
        <p:nvPicPr>
          <p:cNvPr id="17" name="Grafik 16">
            <a:extLst>
              <a:ext uri="{FF2B5EF4-FFF2-40B4-BE49-F238E27FC236}">
                <a16:creationId xmlns:a16="http://schemas.microsoft.com/office/drawing/2014/main" id="{23FA5876-D9F4-F951-47D4-C464ACA8A93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389105" y="3214741"/>
            <a:ext cx="1915724" cy="1915724"/>
          </a:xfrm>
          <a:prstGeom prst="rect">
            <a:avLst/>
          </a:prstGeom>
          <a:effectLst>
            <a:outerShdw blurRad="63500" sx="102000" sy="102000" algn="ctr" rotWithShape="0">
              <a:prstClr val="black">
                <a:alpha val="40000"/>
              </a:prstClr>
            </a:outerShdw>
          </a:effectLst>
        </p:spPr>
      </p:pic>
      <p:cxnSp>
        <p:nvCxnSpPr>
          <p:cNvPr id="18" name="Gerade Verbindung mit Pfeil 17">
            <a:extLst>
              <a:ext uri="{FF2B5EF4-FFF2-40B4-BE49-F238E27FC236}">
                <a16:creationId xmlns:a16="http://schemas.microsoft.com/office/drawing/2014/main" id="{611C2F23-A5B6-A56B-AA6D-2BAA917BBA89}"/>
              </a:ext>
            </a:extLst>
          </p:cNvPr>
          <p:cNvCxnSpPr>
            <a:cxnSpLocks/>
          </p:cNvCxnSpPr>
          <p:nvPr/>
        </p:nvCxnSpPr>
        <p:spPr>
          <a:xfrm>
            <a:off x="2711502" y="3429000"/>
            <a:ext cx="1198181" cy="0"/>
          </a:xfrm>
          <a:prstGeom prst="straightConnector1">
            <a:avLst/>
          </a:prstGeom>
          <a:ln w="76200">
            <a:solidFill>
              <a:srgbClr val="3679FC"/>
            </a:solidFill>
            <a:tailEnd type="triangle"/>
          </a:ln>
          <a:effectLst>
            <a:outerShdw blurRad="63500" sx="102000" sy="102000" algn="ctr" rotWithShape="0">
              <a:prstClr val="black">
                <a:alpha val="40000"/>
              </a:prstClr>
            </a:outerShdw>
          </a:effectLst>
        </p:spPr>
        <p:style>
          <a:lnRef idx="3">
            <a:schemeClr val="accent6"/>
          </a:lnRef>
          <a:fillRef idx="0">
            <a:schemeClr val="accent6"/>
          </a:fillRef>
          <a:effectRef idx="2">
            <a:schemeClr val="accent6"/>
          </a:effectRef>
          <a:fontRef idx="minor">
            <a:schemeClr val="tx1"/>
          </a:fontRef>
        </p:style>
      </p:cxnSp>
      <p:cxnSp>
        <p:nvCxnSpPr>
          <p:cNvPr id="19" name="Gerade Verbindung mit Pfeil 18">
            <a:extLst>
              <a:ext uri="{FF2B5EF4-FFF2-40B4-BE49-F238E27FC236}">
                <a16:creationId xmlns:a16="http://schemas.microsoft.com/office/drawing/2014/main" id="{4BEBE19C-5A5D-970D-C069-5FB576176354}"/>
              </a:ext>
            </a:extLst>
          </p:cNvPr>
          <p:cNvCxnSpPr>
            <a:cxnSpLocks/>
          </p:cNvCxnSpPr>
          <p:nvPr/>
        </p:nvCxnSpPr>
        <p:spPr>
          <a:xfrm flipH="1">
            <a:off x="2615529" y="4508435"/>
            <a:ext cx="1206360" cy="0"/>
          </a:xfrm>
          <a:prstGeom prst="straightConnector1">
            <a:avLst/>
          </a:prstGeom>
          <a:ln w="76200">
            <a:solidFill>
              <a:srgbClr val="3679FC"/>
            </a:solidFill>
            <a:tailEnd type="triangle"/>
          </a:ln>
          <a:effectLst>
            <a:outerShdw blurRad="63500" sx="102000" sy="102000" algn="ctr" rotWithShape="0">
              <a:prstClr val="black">
                <a:alpha val="40000"/>
              </a:prstClr>
            </a:outerShdw>
          </a:effectLst>
        </p:spPr>
        <p:style>
          <a:lnRef idx="3">
            <a:schemeClr val="accent6"/>
          </a:lnRef>
          <a:fillRef idx="0">
            <a:schemeClr val="accent6"/>
          </a:fillRef>
          <a:effectRef idx="2">
            <a:schemeClr val="accent6"/>
          </a:effectRef>
          <a:fontRef idx="minor">
            <a:schemeClr val="tx1"/>
          </a:fontRef>
        </p:style>
      </p:cxnSp>
      <p:sp>
        <p:nvSpPr>
          <p:cNvPr id="20" name="Titel 1">
            <a:extLst>
              <a:ext uri="{FF2B5EF4-FFF2-40B4-BE49-F238E27FC236}">
                <a16:creationId xmlns:a16="http://schemas.microsoft.com/office/drawing/2014/main" id="{9D0FE2DE-019F-2216-A077-8E05092AAA5E}"/>
              </a:ext>
            </a:extLst>
          </p:cNvPr>
          <p:cNvSpPr txBox="1">
            <a:spLocks/>
          </p:cNvSpPr>
          <p:nvPr/>
        </p:nvSpPr>
        <p:spPr>
          <a:xfrm>
            <a:off x="3510938" y="3190704"/>
            <a:ext cx="2422801" cy="498584"/>
          </a:xfrm>
          <a:prstGeom prst="rect">
            <a:avLst/>
          </a:prstGeom>
        </p:spPr>
        <p:txBody>
          <a:bodyPr vert="horz" lIns="121920" tIns="60960" rIns="121920" bIns="60960" rtlCol="0" anchor="ctr">
            <a:normAutofit/>
          </a:bodyPr>
          <a:lstStyle>
            <a:lvl1pPr algn="ctr" defTabSz="914400" rtl="0" eaLnBrk="1" latinLnBrk="0" hangingPunct="1">
              <a:lnSpc>
                <a:spcPct val="90000"/>
              </a:lnSpc>
              <a:spcBef>
                <a:spcPct val="0"/>
              </a:spcBef>
              <a:buNone/>
              <a:defRPr sz="3600" kern="1200">
                <a:ln>
                  <a:solidFill>
                    <a:schemeClr val="bg1"/>
                  </a:solidFill>
                </a:ln>
                <a:solidFill>
                  <a:schemeClr val="accent6"/>
                </a:solidFill>
                <a:effectLst>
                  <a:outerShdw dist="38100" dir="2700000" algn="tl" rotWithShape="0">
                    <a:schemeClr val="accent2"/>
                  </a:outerShdw>
                </a:effectLst>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solidFill>
                    <a:prstClr val="white"/>
                  </a:solidFill>
                </a:ln>
                <a:solidFill>
                  <a:prstClr val="black"/>
                </a:solidFill>
                <a:effectLst/>
                <a:uLnTx/>
                <a:uFillTx/>
                <a:latin typeface="Montserrat SemiBold" panose="00000700000000000000" pitchFamily="2" charset="0"/>
                <a:ea typeface="+mj-ea"/>
                <a:cs typeface="Segoe UI Semibold" panose="020B0702040204020203" pitchFamily="34" charset="0"/>
              </a:rPr>
              <a:t>Actions</a:t>
            </a:r>
          </a:p>
        </p:txBody>
      </p:sp>
      <p:sp>
        <p:nvSpPr>
          <p:cNvPr id="45" name="Titel 1">
            <a:extLst>
              <a:ext uri="{FF2B5EF4-FFF2-40B4-BE49-F238E27FC236}">
                <a16:creationId xmlns:a16="http://schemas.microsoft.com/office/drawing/2014/main" id="{2B2A8D05-C6D1-21C5-3EC6-9D004F781CDF}"/>
              </a:ext>
            </a:extLst>
          </p:cNvPr>
          <p:cNvSpPr txBox="1">
            <a:spLocks/>
          </p:cNvSpPr>
          <p:nvPr/>
        </p:nvSpPr>
        <p:spPr>
          <a:xfrm>
            <a:off x="3540218" y="4255853"/>
            <a:ext cx="2422801" cy="498584"/>
          </a:xfrm>
          <a:prstGeom prst="rect">
            <a:avLst/>
          </a:prstGeom>
        </p:spPr>
        <p:txBody>
          <a:bodyPr vert="horz" lIns="121920" tIns="60960" rIns="121920" bIns="60960" rtlCol="0" anchor="ctr">
            <a:normAutofit/>
          </a:bodyPr>
          <a:lstStyle>
            <a:lvl1pPr algn="ctr" defTabSz="914400" rtl="0" eaLnBrk="1" latinLnBrk="0" hangingPunct="1">
              <a:lnSpc>
                <a:spcPct val="90000"/>
              </a:lnSpc>
              <a:spcBef>
                <a:spcPct val="0"/>
              </a:spcBef>
              <a:buNone/>
              <a:defRPr sz="3600" kern="1200">
                <a:ln>
                  <a:solidFill>
                    <a:schemeClr val="bg1"/>
                  </a:solidFill>
                </a:ln>
                <a:solidFill>
                  <a:schemeClr val="accent6"/>
                </a:solidFill>
                <a:effectLst>
                  <a:outerShdw dist="38100" dir="2700000" algn="tl" rotWithShape="0">
                    <a:schemeClr val="accent2"/>
                  </a:outerShdw>
                </a:effectLst>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solidFill>
                    <a:prstClr val="white"/>
                  </a:solidFill>
                </a:ln>
                <a:solidFill>
                  <a:prstClr val="black"/>
                </a:solidFill>
                <a:effectLst/>
                <a:uLnTx/>
                <a:uFillTx/>
                <a:latin typeface="Montserrat SemiBold" panose="00000700000000000000" pitchFamily="2" charset="0"/>
                <a:ea typeface="+mj-ea"/>
                <a:cs typeface="Segoe UI Semibold" panose="020B0702040204020203" pitchFamily="34" charset="0"/>
              </a:rPr>
              <a:t>Triggers</a:t>
            </a:r>
          </a:p>
        </p:txBody>
      </p:sp>
      <p:pic>
        <p:nvPicPr>
          <p:cNvPr id="2" name="Grafik 1" descr="Server mit einfarbiger Füllung">
            <a:extLst>
              <a:ext uri="{FF2B5EF4-FFF2-40B4-BE49-F238E27FC236}">
                <a16:creationId xmlns:a16="http://schemas.microsoft.com/office/drawing/2014/main" id="{332788E3-10B2-100A-AAA8-9D62D4900AC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181181" y="3780079"/>
            <a:ext cx="595064" cy="595064"/>
          </a:xfrm>
          <a:prstGeom prst="rect">
            <a:avLst/>
          </a:prstGeom>
        </p:spPr>
      </p:pic>
      <p:pic>
        <p:nvPicPr>
          <p:cNvPr id="4" name="Grafik 3">
            <a:extLst>
              <a:ext uri="{FF2B5EF4-FFF2-40B4-BE49-F238E27FC236}">
                <a16:creationId xmlns:a16="http://schemas.microsoft.com/office/drawing/2014/main" id="{8CBF8C2B-3E2E-88D0-83EC-B62E6C73AD5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14276" y="3681132"/>
            <a:ext cx="676597" cy="676597"/>
          </a:xfrm>
          <a:prstGeom prst="rect">
            <a:avLst/>
          </a:prstGeom>
        </p:spPr>
      </p:pic>
      <p:sp>
        <p:nvSpPr>
          <p:cNvPr id="5" name="Rechteck 4">
            <a:extLst>
              <a:ext uri="{FF2B5EF4-FFF2-40B4-BE49-F238E27FC236}">
                <a16:creationId xmlns:a16="http://schemas.microsoft.com/office/drawing/2014/main" id="{F5AC826B-BCE7-97AE-17C1-A5140E2CE9D3}"/>
              </a:ext>
            </a:extLst>
          </p:cNvPr>
          <p:cNvSpPr/>
          <p:nvPr/>
        </p:nvSpPr>
        <p:spPr>
          <a:xfrm>
            <a:off x="9094422" y="3512531"/>
            <a:ext cx="2897745" cy="1241907"/>
          </a:xfrm>
          <a:prstGeom prst="rect">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6" name="Grafik 5" descr="Zahnräder mit einfarbiger Füllung">
            <a:extLst>
              <a:ext uri="{FF2B5EF4-FFF2-40B4-BE49-F238E27FC236}">
                <a16:creationId xmlns:a16="http://schemas.microsoft.com/office/drawing/2014/main" id="{4D7A0753-A786-72AD-FC7A-102B547D5C7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08330" y="3680027"/>
            <a:ext cx="613772" cy="613772"/>
          </a:xfrm>
          <a:prstGeom prst="rect">
            <a:avLst/>
          </a:prstGeom>
        </p:spPr>
      </p:pic>
      <p:sp>
        <p:nvSpPr>
          <p:cNvPr id="7" name="Titel 1">
            <a:extLst>
              <a:ext uri="{FF2B5EF4-FFF2-40B4-BE49-F238E27FC236}">
                <a16:creationId xmlns:a16="http://schemas.microsoft.com/office/drawing/2014/main" id="{92DE030D-C4FD-2000-708E-91D1D05958B2}"/>
              </a:ext>
            </a:extLst>
          </p:cNvPr>
          <p:cNvSpPr txBox="1">
            <a:spLocks/>
          </p:cNvSpPr>
          <p:nvPr/>
        </p:nvSpPr>
        <p:spPr>
          <a:xfrm>
            <a:off x="8942252" y="4326006"/>
            <a:ext cx="1430312" cy="294341"/>
          </a:xfrm>
          <a:prstGeom prst="rect">
            <a:avLst/>
          </a:prstGeom>
        </p:spPr>
        <p:txBody>
          <a:bodyPr vert="horz" lIns="121920" tIns="60960" rIns="121920" bIns="60960" rtlCol="0" anchor="ctr">
            <a:noAutofit/>
          </a:bodyPr>
          <a:lstStyle>
            <a:lvl1pPr algn="ctr" defTabSz="914400" rtl="0" eaLnBrk="1" latinLnBrk="0" hangingPunct="1">
              <a:lnSpc>
                <a:spcPct val="90000"/>
              </a:lnSpc>
              <a:spcBef>
                <a:spcPct val="0"/>
              </a:spcBef>
              <a:buNone/>
              <a:defRPr sz="3600" kern="1200">
                <a:ln>
                  <a:solidFill>
                    <a:schemeClr val="bg1"/>
                  </a:solidFill>
                </a:ln>
                <a:solidFill>
                  <a:schemeClr val="accent6"/>
                </a:solidFill>
                <a:effectLst>
                  <a:outerShdw dist="38100" dir="2700000" algn="tl" rotWithShape="0">
                    <a:schemeClr val="accent2"/>
                  </a:outerShdw>
                </a:effectLst>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solidFill>
                    <a:prstClr val="white"/>
                  </a:solidFill>
                </a:ln>
                <a:solidFill>
                  <a:prstClr val="black"/>
                </a:solidFill>
                <a:effectLst/>
                <a:uLnTx/>
                <a:uFillTx/>
                <a:latin typeface="Aptos" panose="02110004020202020204"/>
                <a:ea typeface="+mj-ea"/>
                <a:cs typeface="+mj-cs"/>
              </a:rPr>
              <a:t>Gateway</a:t>
            </a:r>
          </a:p>
        </p:txBody>
      </p:sp>
      <p:sp>
        <p:nvSpPr>
          <p:cNvPr id="8" name="Titel 1">
            <a:extLst>
              <a:ext uri="{FF2B5EF4-FFF2-40B4-BE49-F238E27FC236}">
                <a16:creationId xmlns:a16="http://schemas.microsoft.com/office/drawing/2014/main" id="{E077CC0B-971B-D9D3-0ED1-167684841292}"/>
              </a:ext>
            </a:extLst>
          </p:cNvPr>
          <p:cNvSpPr txBox="1">
            <a:spLocks/>
          </p:cNvSpPr>
          <p:nvPr/>
        </p:nvSpPr>
        <p:spPr>
          <a:xfrm>
            <a:off x="8657178" y="5002603"/>
            <a:ext cx="3534823" cy="637677"/>
          </a:xfrm>
          <a:prstGeom prst="rect">
            <a:avLst/>
          </a:prstGeom>
        </p:spPr>
        <p:txBody>
          <a:bodyPr vert="horz" lIns="121920" tIns="60960" rIns="121920" bIns="60960" rtlCol="0" anchor="ctr">
            <a:normAutofit/>
          </a:bodyPr>
          <a:lstStyle>
            <a:lvl1pPr algn="ctr" defTabSz="914400" rtl="0" eaLnBrk="1" latinLnBrk="0" hangingPunct="1">
              <a:lnSpc>
                <a:spcPct val="90000"/>
              </a:lnSpc>
              <a:spcBef>
                <a:spcPct val="0"/>
              </a:spcBef>
              <a:buNone/>
              <a:defRPr sz="3600" kern="1200">
                <a:ln>
                  <a:solidFill>
                    <a:schemeClr val="bg1"/>
                  </a:solidFill>
                </a:ln>
                <a:solidFill>
                  <a:schemeClr val="accent6"/>
                </a:solidFill>
                <a:effectLst>
                  <a:outerShdw dist="38100" dir="2700000" algn="tl" rotWithShape="0">
                    <a:schemeClr val="accent2"/>
                  </a:outerShdw>
                </a:effectLst>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solidFill>
                    <a:prstClr val="white"/>
                  </a:solidFill>
                </a:ln>
                <a:solidFill>
                  <a:prstClr val="black"/>
                </a:solidFill>
                <a:effectLst/>
                <a:uLnTx/>
                <a:uFillTx/>
                <a:latin typeface="Segoe UI Semibold" panose="020B0702040204020203" pitchFamily="34" charset="0"/>
                <a:ea typeface="+mj-ea"/>
                <a:cs typeface="Segoe UI Semibold" panose="020B0702040204020203" pitchFamily="34" charset="0"/>
              </a:rPr>
              <a:t>On-Premises API</a:t>
            </a:r>
          </a:p>
        </p:txBody>
      </p:sp>
      <p:cxnSp>
        <p:nvCxnSpPr>
          <p:cNvPr id="10" name="Gerade Verbindung mit Pfeil 9">
            <a:extLst>
              <a:ext uri="{FF2B5EF4-FFF2-40B4-BE49-F238E27FC236}">
                <a16:creationId xmlns:a16="http://schemas.microsoft.com/office/drawing/2014/main" id="{FED82101-C4E8-64FA-79D5-31C4897B30AE}"/>
              </a:ext>
            </a:extLst>
          </p:cNvPr>
          <p:cNvCxnSpPr>
            <a:cxnSpLocks/>
          </p:cNvCxnSpPr>
          <p:nvPr/>
        </p:nvCxnSpPr>
        <p:spPr>
          <a:xfrm>
            <a:off x="7338563" y="4061820"/>
            <a:ext cx="1567988" cy="0"/>
          </a:xfrm>
          <a:prstGeom prst="straightConnector1">
            <a:avLst/>
          </a:prstGeom>
          <a:ln w="76200">
            <a:solidFill>
              <a:srgbClr val="3679FC"/>
            </a:solidFill>
            <a:headEnd type="triangle" w="med" len="med"/>
            <a:tailEnd type="triangle" w="med" len="med"/>
          </a:ln>
          <a:effectLst>
            <a:outerShdw blurRad="63500" sx="102000" sy="102000" algn="ctr" rotWithShape="0">
              <a:prstClr val="black">
                <a:alpha val="40000"/>
              </a:prstClr>
            </a:outerShdw>
          </a:effectLst>
        </p:spPr>
        <p:style>
          <a:lnRef idx="3">
            <a:schemeClr val="accent6"/>
          </a:lnRef>
          <a:fillRef idx="0">
            <a:schemeClr val="accent6"/>
          </a:fillRef>
          <a:effectRef idx="2">
            <a:schemeClr val="accent6"/>
          </a:effectRef>
          <a:fontRef idx="minor">
            <a:schemeClr val="tx1"/>
          </a:fontRef>
        </p:style>
      </p:cxnSp>
      <p:sp>
        <p:nvSpPr>
          <p:cNvPr id="11" name="Titel 1">
            <a:extLst>
              <a:ext uri="{FF2B5EF4-FFF2-40B4-BE49-F238E27FC236}">
                <a16:creationId xmlns:a16="http://schemas.microsoft.com/office/drawing/2014/main" id="{D3DD9FB0-3240-F9BE-E975-A8144661D49E}"/>
              </a:ext>
            </a:extLst>
          </p:cNvPr>
          <p:cNvSpPr txBox="1">
            <a:spLocks/>
          </p:cNvSpPr>
          <p:nvPr/>
        </p:nvSpPr>
        <p:spPr>
          <a:xfrm>
            <a:off x="6887708" y="4273123"/>
            <a:ext cx="2422801" cy="498584"/>
          </a:xfrm>
          <a:prstGeom prst="rect">
            <a:avLst/>
          </a:prstGeom>
        </p:spPr>
        <p:txBody>
          <a:bodyPr vert="horz" lIns="121920" tIns="60960" rIns="121920" bIns="60960" rtlCol="0" anchor="ctr">
            <a:normAutofit/>
          </a:bodyPr>
          <a:lstStyle>
            <a:lvl1pPr algn="ctr" defTabSz="914400" rtl="0" eaLnBrk="1" latinLnBrk="0" hangingPunct="1">
              <a:lnSpc>
                <a:spcPct val="90000"/>
              </a:lnSpc>
              <a:spcBef>
                <a:spcPct val="0"/>
              </a:spcBef>
              <a:buNone/>
              <a:defRPr sz="3600" kern="1200">
                <a:ln>
                  <a:solidFill>
                    <a:schemeClr val="bg1"/>
                  </a:solidFill>
                </a:ln>
                <a:solidFill>
                  <a:schemeClr val="accent6"/>
                </a:solidFill>
                <a:effectLst>
                  <a:outerShdw dist="38100" dir="2700000" algn="tl" rotWithShape="0">
                    <a:schemeClr val="accent2"/>
                  </a:outerShdw>
                </a:effectLst>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solidFill>
                    <a:prstClr val="white"/>
                  </a:solidFill>
                </a:ln>
                <a:solidFill>
                  <a:prstClr val="black"/>
                </a:solidFill>
                <a:effectLst/>
                <a:uLnTx/>
                <a:uFillTx/>
                <a:latin typeface="Montserrat SemiBold" panose="00000700000000000000" pitchFamily="2" charset="0"/>
                <a:ea typeface="+mj-ea"/>
                <a:cs typeface="Segoe UI Semibold" panose="020B0702040204020203" pitchFamily="34" charset="0"/>
              </a:rPr>
              <a:t>HTTP</a:t>
            </a:r>
          </a:p>
        </p:txBody>
      </p:sp>
      <p:sp>
        <p:nvSpPr>
          <p:cNvPr id="3" name="Title 2">
            <a:extLst>
              <a:ext uri="{FF2B5EF4-FFF2-40B4-BE49-F238E27FC236}">
                <a16:creationId xmlns:a16="http://schemas.microsoft.com/office/drawing/2014/main" id="{11A983C9-4CB1-004B-1CFA-899E20AF3B1A}"/>
              </a:ext>
            </a:extLst>
          </p:cNvPr>
          <p:cNvSpPr>
            <a:spLocks noGrp="1"/>
          </p:cNvSpPr>
          <p:nvPr>
            <p:ph type="title"/>
          </p:nvPr>
        </p:nvSpPr>
        <p:spPr/>
        <p:txBody>
          <a:bodyPr/>
          <a:lstStyle/>
          <a:p>
            <a:r>
              <a:rPr lang="en-US" sz="4400" dirty="0">
                <a:solidFill>
                  <a:srgbClr val="3679FC"/>
                </a:solidFill>
                <a:cs typeface="Segoe UI Semibold" panose="020B0702040204020203" pitchFamily="34" charset="0"/>
              </a:rPr>
              <a:t>How do they work?</a:t>
            </a:r>
            <a:endParaRPr lang="de-DE" dirty="0">
              <a:solidFill>
                <a:srgbClr val="3679FC"/>
              </a:solidFill>
            </a:endParaRPr>
          </a:p>
        </p:txBody>
      </p:sp>
    </p:spTree>
    <p:extLst>
      <p:ext uri="{BB962C8B-B14F-4D97-AF65-F5344CB8AC3E}">
        <p14:creationId xmlns:p14="http://schemas.microsoft.com/office/powerpoint/2010/main" val="31330644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937C87-E31A-1362-6961-3C2C16AF914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E2884D8-320F-4B21-1F64-68986D1D736D}"/>
              </a:ext>
            </a:extLst>
          </p:cNvPr>
          <p:cNvSpPr>
            <a:spLocks noGrp="1"/>
          </p:cNvSpPr>
          <p:nvPr>
            <p:ph type="title"/>
          </p:nvPr>
        </p:nvSpPr>
        <p:spPr>
          <a:xfrm>
            <a:off x="606989" y="1820411"/>
            <a:ext cx="10728157" cy="2298584"/>
          </a:xfrm>
        </p:spPr>
        <p:txBody>
          <a:bodyPr/>
          <a:lstStyle/>
          <a:p>
            <a:pPr algn="ctr"/>
            <a:r>
              <a:rPr lang="de-DE" sz="8000" dirty="0" err="1"/>
              <a:t>Example</a:t>
            </a:r>
            <a:r>
              <a:rPr lang="de-DE" sz="8000" dirty="0"/>
              <a:t> </a:t>
            </a:r>
            <a:r>
              <a:rPr lang="de-DE" sz="8000" dirty="0" err="1"/>
              <a:t>scenario</a:t>
            </a:r>
            <a:r>
              <a:rPr lang="de-DE" sz="8000" dirty="0"/>
              <a:t> </a:t>
            </a:r>
            <a:br>
              <a:rPr lang="de-DE" sz="8000" dirty="0"/>
            </a:br>
            <a:r>
              <a:rPr lang="de-DE" sz="8000" dirty="0"/>
              <a:t>🌍</a:t>
            </a:r>
          </a:p>
        </p:txBody>
      </p:sp>
      <p:sp>
        <p:nvSpPr>
          <p:cNvPr id="5" name="Slide Number Placeholder 4">
            <a:extLst>
              <a:ext uri="{FF2B5EF4-FFF2-40B4-BE49-F238E27FC236}">
                <a16:creationId xmlns:a16="http://schemas.microsoft.com/office/drawing/2014/main" id="{CD8A7612-99EA-0CBA-AD1E-43191A83A1D3}"/>
              </a:ext>
            </a:extLst>
          </p:cNvPr>
          <p:cNvSpPr>
            <a:spLocks noGrp="1"/>
          </p:cNvSpPr>
          <p:nvPr>
            <p:ph type="sldNum" sz="quarter" idx="4294967295"/>
          </p:nvPr>
        </p:nvSpPr>
        <p:spPr>
          <a:xfrm>
            <a:off x="9197975" y="6361113"/>
            <a:ext cx="2994025" cy="360362"/>
          </a:xfrm>
          <a:prstGeom prst="rect">
            <a:avLst/>
          </a:prstGeom>
        </p:spPr>
        <p:txBody>
          <a:bodyPr/>
          <a:lstStyle/>
          <a:p>
            <a:fld id="{38A2B098-C640-ED48-8BF9-C82891310785}" type="slidenum">
              <a:rPr lang="en-US" smtClean="0"/>
              <a:t>8</a:t>
            </a:fld>
            <a:endParaRPr lang="en-US"/>
          </a:p>
        </p:txBody>
      </p:sp>
    </p:spTree>
    <p:extLst>
      <p:ext uri="{BB962C8B-B14F-4D97-AF65-F5344CB8AC3E}">
        <p14:creationId xmlns:p14="http://schemas.microsoft.com/office/powerpoint/2010/main" val="20171790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E895BA-8C02-12DE-0E31-A28EC899F2D4}"/>
              </a:ext>
            </a:extLst>
          </p:cNvPr>
          <p:cNvSpPr>
            <a:spLocks noGrp="1"/>
          </p:cNvSpPr>
          <p:nvPr>
            <p:ph type="title"/>
          </p:nvPr>
        </p:nvSpPr>
        <p:spPr/>
        <p:txBody>
          <a:bodyPr/>
          <a:lstStyle/>
          <a:p>
            <a:r>
              <a:rPr lang="de-DE" dirty="0"/>
              <a:t>Scenario	</a:t>
            </a:r>
          </a:p>
        </p:txBody>
      </p:sp>
      <p:sp>
        <p:nvSpPr>
          <p:cNvPr id="4" name="Text Placeholder 3">
            <a:extLst>
              <a:ext uri="{FF2B5EF4-FFF2-40B4-BE49-F238E27FC236}">
                <a16:creationId xmlns:a16="http://schemas.microsoft.com/office/drawing/2014/main" id="{C037AF6F-5CC4-00F1-0B11-03437D67DB16}"/>
              </a:ext>
            </a:extLst>
          </p:cNvPr>
          <p:cNvSpPr>
            <a:spLocks noGrp="1"/>
          </p:cNvSpPr>
          <p:nvPr>
            <p:ph type="body" sz="quarter" idx="11"/>
          </p:nvPr>
        </p:nvSpPr>
        <p:spPr/>
        <p:txBody>
          <a:bodyPr/>
          <a:lstStyle/>
          <a:p>
            <a:pPr marL="0" indent="0">
              <a:buNone/>
            </a:pPr>
            <a:r>
              <a:rPr lang="de-DE" dirty="0"/>
              <a:t>Imagine </a:t>
            </a:r>
            <a:r>
              <a:rPr lang="de-DE" dirty="0" err="1"/>
              <a:t>there</a:t>
            </a:r>
            <a:r>
              <a:rPr lang="de-DE" dirty="0"/>
              <a:t> </a:t>
            </a:r>
            <a:r>
              <a:rPr lang="de-DE" dirty="0" err="1"/>
              <a:t>is</a:t>
            </a:r>
            <a:r>
              <a:rPr lang="de-DE" dirty="0"/>
              <a:t> an API </a:t>
            </a:r>
            <a:r>
              <a:rPr lang="de-DE" dirty="0" err="1"/>
              <a:t>for</a:t>
            </a:r>
            <a:r>
              <a:rPr lang="de-DE" dirty="0"/>
              <a:t> all </a:t>
            </a:r>
            <a:r>
              <a:rPr lang="de-DE" dirty="0" err="1"/>
              <a:t>the</a:t>
            </a:r>
            <a:r>
              <a:rPr lang="de-DE" dirty="0"/>
              <a:t> </a:t>
            </a:r>
            <a:r>
              <a:rPr lang="de-DE" dirty="0" err="1"/>
              <a:t>community</a:t>
            </a:r>
            <a:r>
              <a:rPr lang="de-DE" dirty="0"/>
              <a:t> </a:t>
            </a:r>
            <a:r>
              <a:rPr lang="de-DE" dirty="0" err="1"/>
              <a:t>events</a:t>
            </a:r>
            <a:r>
              <a:rPr lang="de-DE" dirty="0"/>
              <a:t> </a:t>
            </a:r>
            <a:r>
              <a:rPr lang="de-DE" dirty="0" err="1"/>
              <a:t>to</a:t>
            </a:r>
            <a:r>
              <a:rPr lang="de-DE" dirty="0"/>
              <a:t> </a:t>
            </a:r>
            <a:r>
              <a:rPr lang="de-DE" dirty="0" err="1"/>
              <a:t>query</a:t>
            </a:r>
            <a:r>
              <a:rPr lang="de-DE" dirty="0"/>
              <a:t> </a:t>
            </a:r>
            <a:r>
              <a:rPr lang="de-DE" dirty="0" err="1"/>
              <a:t>basic</a:t>
            </a:r>
            <a:r>
              <a:rPr lang="de-DE" dirty="0"/>
              <a:t> </a:t>
            </a:r>
            <a:r>
              <a:rPr lang="de-DE" dirty="0" err="1"/>
              <a:t>data</a:t>
            </a:r>
            <a:r>
              <a:rPr lang="de-DE" dirty="0"/>
              <a:t> and </a:t>
            </a:r>
            <a:r>
              <a:rPr lang="de-DE" dirty="0" err="1"/>
              <a:t>sessions</a:t>
            </a:r>
            <a:r>
              <a:rPr lang="de-DE" dirty="0"/>
              <a:t>!</a:t>
            </a:r>
          </a:p>
        </p:txBody>
      </p:sp>
      <p:pic>
        <p:nvPicPr>
          <p:cNvPr id="5" name="Graphic 4">
            <a:extLst>
              <a:ext uri="{FF2B5EF4-FFF2-40B4-BE49-F238E27FC236}">
                <a16:creationId xmlns:a16="http://schemas.microsoft.com/office/drawing/2014/main" id="{D44B84D7-F597-591D-CB04-3D6C003246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77187" y="2971800"/>
            <a:ext cx="2495550" cy="914400"/>
          </a:xfrm>
          <a:prstGeom prst="rect">
            <a:avLst/>
          </a:prstGeom>
        </p:spPr>
      </p:pic>
      <p:pic>
        <p:nvPicPr>
          <p:cNvPr id="7" name="Picture 6" descr="A rainbow colored cloud with black text&#10;&#10;AI-generated content may be incorrect.">
            <a:extLst>
              <a:ext uri="{FF2B5EF4-FFF2-40B4-BE49-F238E27FC236}">
                <a16:creationId xmlns:a16="http://schemas.microsoft.com/office/drawing/2014/main" id="{EB402634-B36B-0AC5-B321-C8C795F8D2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3774" y="4066827"/>
            <a:ext cx="1700213" cy="1700213"/>
          </a:xfrm>
          <a:prstGeom prst="rect">
            <a:avLst/>
          </a:prstGeom>
        </p:spPr>
      </p:pic>
      <p:pic>
        <p:nvPicPr>
          <p:cNvPr id="1026" name="Picture 2" descr="Tickets - Nordic Summit">
            <a:extLst>
              <a:ext uri="{FF2B5EF4-FFF2-40B4-BE49-F238E27FC236}">
                <a16:creationId xmlns:a16="http://schemas.microsoft.com/office/drawing/2014/main" id="{76EE02CF-1DD7-4DDD-6260-D0D65E7898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13687" y="2732383"/>
            <a:ext cx="2984361" cy="124033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ABA899FB-F98D-AA36-4005-E1AFCB22C52A}"/>
              </a:ext>
            </a:extLst>
          </p:cNvPr>
          <p:cNvPicPr>
            <a:picLocks noChangeAspect="1"/>
          </p:cNvPicPr>
          <p:nvPr/>
        </p:nvPicPr>
        <p:blipFill>
          <a:blip r:embed="rId6"/>
          <a:stretch>
            <a:fillRect/>
          </a:stretch>
        </p:blipFill>
        <p:spPr>
          <a:xfrm>
            <a:off x="9255900" y="3463875"/>
            <a:ext cx="1735992" cy="1511993"/>
          </a:xfrm>
          <a:prstGeom prst="rect">
            <a:avLst/>
          </a:prstGeom>
        </p:spPr>
      </p:pic>
      <p:pic>
        <p:nvPicPr>
          <p:cNvPr id="1030" name="Picture 6" descr="Cloud Technology Townhall Tallinn">
            <a:extLst>
              <a:ext uri="{FF2B5EF4-FFF2-40B4-BE49-F238E27FC236}">
                <a16:creationId xmlns:a16="http://schemas.microsoft.com/office/drawing/2014/main" id="{275CB598-8E25-0D42-F3AB-0063CF368A3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0119" y="4217653"/>
            <a:ext cx="3016062" cy="171801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silhouette of a city&#10;&#10;AI-generated content may be incorrect.">
            <a:extLst>
              <a:ext uri="{FF2B5EF4-FFF2-40B4-BE49-F238E27FC236}">
                <a16:creationId xmlns:a16="http://schemas.microsoft.com/office/drawing/2014/main" id="{240682E9-AD2D-8D5E-8D2C-4D0CCBCFB3F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20359" y="4307254"/>
            <a:ext cx="1613508" cy="1077230"/>
          </a:xfrm>
          <a:prstGeom prst="rect">
            <a:avLst/>
          </a:prstGeom>
        </p:spPr>
      </p:pic>
    </p:spTree>
    <p:extLst>
      <p:ext uri="{BB962C8B-B14F-4D97-AF65-F5344CB8AC3E}">
        <p14:creationId xmlns:p14="http://schemas.microsoft.com/office/powerpoint/2010/main" val="423709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heme/theme1.xml><?xml version="1.0" encoding="utf-8"?>
<a:theme xmlns:a="http://schemas.openxmlformats.org/drawingml/2006/main" name="Splash Scree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itle Slid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ain Conten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chor="t">
        <a:spAutoFit/>
      </a:bodyPr>
      <a:lstStyle>
        <a:defPPr algn="l">
          <a:defRPr sz="2400" dirty="0">
            <a:latin typeface="Calibri Light" charset="0"/>
            <a:ea typeface="Calibri Light" charset="0"/>
            <a:cs typeface="Calibri Light"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End Scree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D365_Template_v09  -  Read-Only" id="{2D57D977-5F8F-4C2B-9746-7D70A251AB29}" vid="{C2060AB1-A179-414A-B11F-06D63BDFD6E3}"/>
    </a:ext>
  </a:extLst>
</a:theme>
</file>

<file path=ppt/theme/theme6.xml><?xml version="1.0" encoding="utf-8"?>
<a:theme xmlns:a="http://schemas.openxmlformats.org/drawingml/2006/main" name="Office Theme">
  <a:themeElements>
    <a:clrScheme name="nckr">
      <a:dk1>
        <a:sysClr val="windowText" lastClr="000000"/>
      </a:dk1>
      <a:lt1>
        <a:sysClr val="window" lastClr="FFFFFF"/>
      </a:lt1>
      <a:dk2>
        <a:srgbClr val="0E2841"/>
      </a:dk2>
      <a:lt2>
        <a:srgbClr val="E8E8E8"/>
      </a:lt2>
      <a:accent1>
        <a:srgbClr val="27AE60"/>
      </a:accent1>
      <a:accent2>
        <a:srgbClr val="2980B9"/>
      </a:accent2>
      <a:accent3>
        <a:srgbClr val="196B24"/>
      </a:accent3>
      <a:accent4>
        <a:srgbClr val="E67E22"/>
      </a:accent4>
      <a:accent5>
        <a:srgbClr val="C0392B"/>
      </a:accent5>
      <a:accent6>
        <a:srgbClr val="8E44AD"/>
      </a:accent6>
      <a:hlink>
        <a:srgbClr val="3498DB"/>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25D978B09F82641B7FC169E3A3B97E6" ma:contentTypeVersion="3" ma:contentTypeDescription="Create a new document." ma:contentTypeScope="" ma:versionID="2065714146036b18de54ae12315b684f">
  <xsd:schema xmlns:xsd="http://www.w3.org/2001/XMLSchema" xmlns:xs="http://www.w3.org/2001/XMLSchema" xmlns:p="http://schemas.microsoft.com/office/2006/metadata/properties" xmlns:ns2="cf4ef303-01d6-41de-bb42-dd71f2d82e58" targetNamespace="http://schemas.microsoft.com/office/2006/metadata/properties" ma:root="true" ma:fieldsID="82762c0518a2665181770789d4e62fa1" ns2:_="">
    <xsd:import namespace="cf4ef303-01d6-41de-bb42-dd71f2d82e58"/>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4ef303-01d6-41de-bb42-dd71f2d82e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5C0892-D583-430B-AD43-D1A4EB1EE043}">
  <ds:schemaRefs>
    <ds:schemaRef ds:uri="http://schemas.openxmlformats.org/package/2006/metadata/core-properties"/>
    <ds:schemaRef ds:uri="http://purl.org/dc/dcmitype/"/>
    <ds:schemaRef ds:uri="221fbb9a-23db-4311-a69c-34622b264696"/>
    <ds:schemaRef ds:uri="http://schemas.microsoft.com/office/2006/metadata/properties"/>
    <ds:schemaRef ds:uri="http://schemas.microsoft.com/office/2006/documentManagement/types"/>
    <ds:schemaRef ds:uri="http://purl.org/dc/terms/"/>
    <ds:schemaRef ds:uri="http://purl.org/dc/elements/1.1/"/>
    <ds:schemaRef ds:uri="http://schemas.microsoft.com/office/infopath/2007/PartnerControls"/>
    <ds:schemaRef ds:uri="1b3b1065-ae42-4d8a-aa8c-0a73a17faba8"/>
    <ds:schemaRef ds:uri="http://www.w3.org/XML/1998/namespace"/>
  </ds:schemaRefs>
</ds:datastoreItem>
</file>

<file path=customXml/itemProps2.xml><?xml version="1.0" encoding="utf-8"?>
<ds:datastoreItem xmlns:ds="http://schemas.openxmlformats.org/officeDocument/2006/customXml" ds:itemID="{9EED1312-7071-4337-B3AA-79826177A2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f4ef303-01d6-41de-bb42-dd71f2d82e5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6782FBD-C4AD-49F1-B11B-703DF9FAD8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441</Words>
  <Application>Microsoft Office PowerPoint</Application>
  <PresentationFormat>Widescreen</PresentationFormat>
  <Paragraphs>108</Paragraphs>
  <Slides>20</Slides>
  <Notes>6</Notes>
  <HiddenSlides>0</HiddenSlides>
  <MMClips>0</MMClips>
  <ScaleCrop>false</ScaleCrop>
  <HeadingPairs>
    <vt:vector size="6" baseType="variant">
      <vt:variant>
        <vt:lpstr>Fonts Used</vt:lpstr>
      </vt:variant>
      <vt:variant>
        <vt:i4>15</vt:i4>
      </vt:variant>
      <vt:variant>
        <vt:lpstr>Theme</vt:lpstr>
      </vt:variant>
      <vt:variant>
        <vt:i4>6</vt:i4>
      </vt:variant>
      <vt:variant>
        <vt:lpstr>Slide Titles</vt:lpstr>
      </vt:variant>
      <vt:variant>
        <vt:i4>20</vt:i4>
      </vt:variant>
    </vt:vector>
  </HeadingPairs>
  <TitlesOfParts>
    <vt:vector size="41" baseType="lpstr">
      <vt:lpstr>Segoe UI</vt:lpstr>
      <vt:lpstr>Consolas</vt:lpstr>
      <vt:lpstr>Calibri Light</vt:lpstr>
      <vt:lpstr>Playfair Display</vt:lpstr>
      <vt:lpstr>Posterama</vt:lpstr>
      <vt:lpstr>Montserrat</vt:lpstr>
      <vt:lpstr>Aptos</vt:lpstr>
      <vt:lpstr>Poppins SemiBold</vt:lpstr>
      <vt:lpstr>Segoe UI Light</vt:lpstr>
      <vt:lpstr>Montserrat SemiBold</vt:lpstr>
      <vt:lpstr>Arial</vt:lpstr>
      <vt:lpstr>Aptos Display</vt:lpstr>
      <vt:lpstr>Segoe UI Semibold</vt:lpstr>
      <vt:lpstr>Wingdings</vt:lpstr>
      <vt:lpstr>Calibri</vt:lpstr>
      <vt:lpstr>Splash Screen</vt:lpstr>
      <vt:lpstr>Title Slide</vt:lpstr>
      <vt:lpstr>Main Content</vt:lpstr>
      <vt:lpstr>End Screen</vt:lpstr>
      <vt:lpstr>Microsoft D365 template</vt:lpstr>
      <vt:lpstr>Office Theme</vt:lpstr>
      <vt:lpstr>PowerPoint Presentation</vt:lpstr>
      <vt:lpstr>PowerPoint Presentation</vt:lpstr>
      <vt:lpstr>Custom Connector Intro 🙂</vt:lpstr>
      <vt:lpstr>🔌 Standard Connectors   📈  Over 1600</vt:lpstr>
      <vt:lpstr>Create your own  Custom Connectors</vt:lpstr>
      <vt:lpstr>How do they work?</vt:lpstr>
      <vt:lpstr>How do they work?</vt:lpstr>
      <vt:lpstr>Example scenario  🌍</vt:lpstr>
      <vt:lpstr>Scenario </vt:lpstr>
      <vt:lpstr>PowerPoint Presentation</vt:lpstr>
      <vt:lpstr>The Backend / Datasource 💾</vt:lpstr>
      <vt:lpstr>Dataverse / Model Driven Apps</vt:lpstr>
      <vt:lpstr>Mobile App</vt:lpstr>
      <vt:lpstr>API 🔗</vt:lpstr>
      <vt:lpstr>Behind the scenes</vt:lpstr>
      <vt:lpstr>Behind the scenes</vt:lpstr>
      <vt:lpstr>Ways to create a new custom connector</vt:lpstr>
      <vt:lpstr>Step by step: Build a custom connector</vt:lpstr>
      <vt:lpstr>Let‘s build it!</vt:lpstr>
      <vt:lpstr>The Lab Materia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rePoint Europe Systems</dc:creator>
  <cp:lastModifiedBy>Mats Necker</cp:lastModifiedBy>
  <cp:revision>54</cp:revision>
  <dcterms:created xsi:type="dcterms:W3CDTF">2016-06-21T09:22:52Z</dcterms:created>
  <dcterms:modified xsi:type="dcterms:W3CDTF">2025-06-15T12:18: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5D978B09F82641B7FC169E3A3B97E6</vt:lpwstr>
  </property>
  <property fmtid="{D5CDD505-2E9C-101B-9397-08002B2CF9AE}" pid="3" name="MediaServiceImageTags">
    <vt:lpwstr/>
  </property>
</Properties>
</file>